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handoutMasterIdLst>
    <p:handoutMasterId r:id="rId7"/>
  </p:handoutMasterIdLst>
  <p:sldIdLst>
    <p:sldId id="426" r:id="rId5"/>
    <p:sldId id="427" r:id="rId15"/>
    <p:sldId id="428" r:id="rId16"/>
    <p:sldId id="429" r:id="rId17"/>
    <p:sldId id="430" r:id="rId18"/>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halt" id="{899E7F68-A5A5-41B3-9ACC-E4E40E3E56FB}">
          <p14:sldIdLst>
            <p14:sldId id="42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00000"/>
    <a:srgbClr val="BFBFBF"/>
    <a:srgbClr val="D9D9D9"/>
    <a:srgbClr val="4D6D8E"/>
    <a:srgbClr val="F2F2F2"/>
    <a:srgbClr val="ED8348"/>
    <a:srgbClr val="85C7CE"/>
    <a:srgbClr val="1C3658"/>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528AA9-69E4-48FF-B393-D6F5B7AFE608}" v="4" dt="2022-06-28T18:02:58.858"/>
    <p1510:client id="{CB36E5FC-E06D-4E72-874F-6D19D91E5E49}" v="1" dt="2022-07-14T10:29:42.2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643" autoAdjust="0"/>
    <p:restoredTop sz="86395" autoAdjust="0"/>
  </p:normalViewPr>
  <p:slideViewPr>
    <p:cSldViewPr snapToGrid="0" showGuides="1">
      <p:cViewPr varScale="1">
        <p:scale>
          <a:sx n="110" d="100"/>
          <a:sy n="110" d="100"/>
        </p:scale>
        <p:origin x="536" y="176"/>
      </p:cViewPr>
      <p:guideLst/>
    </p:cSldViewPr>
  </p:slideViewPr>
  <p:outlineViewPr>
    <p:cViewPr>
      <p:scale>
        <a:sx n="33" d="100"/>
        <a:sy n="33" d="100"/>
      </p:scale>
      <p:origin x="0" y="-2504"/>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84" d="100"/>
          <a:sy n="84" d="100"/>
        </p:scale>
        <p:origin x="5748" y="102"/>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tags" Target="tags/tag1.xml"/><Relationship Id="rId9" Type="http://schemas.openxmlformats.org/officeDocument/2006/relationships/presProps" Target="presProps.xml"/><Relationship Id="rId10" Type="http://schemas.openxmlformats.org/officeDocument/2006/relationships/viewProps" Target="viewProps.xml"/><Relationship Id="rId11" Type="http://schemas.openxmlformats.org/officeDocument/2006/relationships/theme" Target="theme/theme1.xml"/><Relationship Id="rId12" Type="http://schemas.openxmlformats.org/officeDocument/2006/relationships/tableStyles" Target="tableStyles.xml"/><Relationship Id="rId13" Type="http://schemas.microsoft.com/office/2016/11/relationships/changesInfo" Target="changesInfos/changesInfo1.xml"/><Relationship Id="rId14" Type="http://schemas.microsoft.com/office/2015/10/relationships/revisionInfo" Target="revisionInfo.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eldkirchner" userId="c4135e70-53ec-4cd4-a1bd-4ca908459c8c" providerId="ADAL" clId="{7F9C2C8A-03C3-431A-BE04-83FBFEAB7D91}"/>
    <pc:docChg chg="undo custSel addSld delSld modSld sldOrd modSection">
      <pc:chgData name="Marc Feldkirchner" userId="c4135e70-53ec-4cd4-a1bd-4ca908459c8c" providerId="ADAL" clId="{7F9C2C8A-03C3-431A-BE04-83FBFEAB7D91}" dt="2022-03-22T16:40:13.439" v="1932" actId="47"/>
      <pc:docMkLst>
        <pc:docMk/>
      </pc:docMkLst>
      <pc:sldChg chg="modSp mod">
        <pc:chgData name="Marc Feldkirchner" userId="c4135e70-53ec-4cd4-a1bd-4ca908459c8c" providerId="ADAL" clId="{7F9C2C8A-03C3-431A-BE04-83FBFEAB7D91}" dt="2022-02-25T12:08:22.985" v="508" actId="20577"/>
        <pc:sldMkLst>
          <pc:docMk/>
          <pc:sldMk cId="3419691827" sldId="338"/>
        </pc:sldMkLst>
        <pc:spChg chg="mod">
          <ac:chgData name="Marc Feldkirchner" userId="c4135e70-53ec-4cd4-a1bd-4ca908459c8c" providerId="ADAL" clId="{7F9C2C8A-03C3-431A-BE04-83FBFEAB7D91}" dt="2022-02-25T11:46:25.142" v="41" actId="6549"/>
          <ac:spMkLst>
            <pc:docMk/>
            <pc:sldMk cId="3419691827" sldId="338"/>
            <ac:spMk id="6" creationId="{8A12327F-1131-482D-954E-894DEC9EF3F1}"/>
          </ac:spMkLst>
        </pc:spChg>
        <pc:spChg chg="mod">
          <ac:chgData name="Marc Feldkirchner" userId="c4135e70-53ec-4cd4-a1bd-4ca908459c8c" providerId="ADAL" clId="{7F9C2C8A-03C3-431A-BE04-83FBFEAB7D91}" dt="2022-02-25T12:08:22.985" v="508" actId="20577"/>
          <ac:spMkLst>
            <pc:docMk/>
            <pc:sldMk cId="3419691827" sldId="338"/>
            <ac:spMk id="45" creationId="{0B1198CB-D12B-421A-93D0-8C56312E30F4}"/>
          </ac:spMkLst>
        </pc:spChg>
        <pc:spChg chg="mod">
          <ac:chgData name="Marc Feldkirchner" userId="c4135e70-53ec-4cd4-a1bd-4ca908459c8c" providerId="ADAL" clId="{7F9C2C8A-03C3-431A-BE04-83FBFEAB7D91}" dt="2022-02-25T11:57:25.924" v="194" actId="20577"/>
          <ac:spMkLst>
            <pc:docMk/>
            <pc:sldMk cId="3419691827" sldId="338"/>
            <ac:spMk id="179" creationId="{BA596FC9-79E8-4C8F-B716-4B680640466C}"/>
          </ac:spMkLst>
        </pc:spChg>
        <pc:spChg chg="mod">
          <ac:chgData name="Marc Feldkirchner" userId="c4135e70-53ec-4cd4-a1bd-4ca908459c8c" providerId="ADAL" clId="{7F9C2C8A-03C3-431A-BE04-83FBFEAB7D91}" dt="2022-02-25T11:57:44.213" v="215" actId="20577"/>
          <ac:spMkLst>
            <pc:docMk/>
            <pc:sldMk cId="3419691827" sldId="338"/>
            <ac:spMk id="182" creationId="{BA714521-F0A9-44FA-B5A8-FD27D3EFC840}"/>
          </ac:spMkLst>
        </pc:spChg>
        <pc:spChg chg="mod">
          <ac:chgData name="Marc Feldkirchner" userId="c4135e70-53ec-4cd4-a1bd-4ca908459c8c" providerId="ADAL" clId="{7F9C2C8A-03C3-431A-BE04-83FBFEAB7D91}" dt="2022-02-25T11:58:01.575" v="260" actId="20577"/>
          <ac:spMkLst>
            <pc:docMk/>
            <pc:sldMk cId="3419691827" sldId="338"/>
            <ac:spMk id="185" creationId="{1136CD69-C074-465E-B9C4-D5F64CE0B09B}"/>
          </ac:spMkLst>
        </pc:spChg>
        <pc:spChg chg="mod">
          <ac:chgData name="Marc Feldkirchner" userId="c4135e70-53ec-4cd4-a1bd-4ca908459c8c" providerId="ADAL" clId="{7F9C2C8A-03C3-431A-BE04-83FBFEAB7D91}" dt="2022-02-25T11:58:21.806" v="328" actId="20577"/>
          <ac:spMkLst>
            <pc:docMk/>
            <pc:sldMk cId="3419691827" sldId="338"/>
            <ac:spMk id="188" creationId="{0100F361-9136-43CC-9E16-CF4F0116BC89}"/>
          </ac:spMkLst>
        </pc:spChg>
        <pc:spChg chg="mod">
          <ac:chgData name="Marc Feldkirchner" userId="c4135e70-53ec-4cd4-a1bd-4ca908459c8c" providerId="ADAL" clId="{7F9C2C8A-03C3-431A-BE04-83FBFEAB7D91}" dt="2022-02-25T11:57:48.197" v="222" actId="20577"/>
          <ac:spMkLst>
            <pc:docMk/>
            <pc:sldMk cId="3419691827" sldId="338"/>
            <ac:spMk id="191" creationId="{7ECDB696-7E06-4989-9BAE-8071ABC83A16}"/>
          </ac:spMkLst>
        </pc:spChg>
        <pc:spChg chg="mod">
          <ac:chgData name="Marc Feldkirchner" userId="c4135e70-53ec-4cd4-a1bd-4ca908459c8c" providerId="ADAL" clId="{7F9C2C8A-03C3-431A-BE04-83FBFEAB7D91}" dt="2022-02-25T11:58:06.050" v="274" actId="20577"/>
          <ac:spMkLst>
            <pc:docMk/>
            <pc:sldMk cId="3419691827" sldId="338"/>
            <ac:spMk id="194" creationId="{8BA74258-D9BE-4090-AFA9-5A9656D0DD6E}"/>
          </ac:spMkLst>
        </pc:spChg>
        <pc:spChg chg="mod">
          <ac:chgData name="Marc Feldkirchner" userId="c4135e70-53ec-4cd4-a1bd-4ca908459c8c" providerId="ADAL" clId="{7F9C2C8A-03C3-431A-BE04-83FBFEAB7D91}" dt="2022-02-25T11:57:32.723" v="201" actId="20577"/>
          <ac:spMkLst>
            <pc:docMk/>
            <pc:sldMk cId="3419691827" sldId="338"/>
            <ac:spMk id="197" creationId="{85D1901C-874E-4D64-B494-BF73E5D9949F}"/>
          </ac:spMkLst>
        </pc:spChg>
        <pc:spChg chg="mod">
          <ac:chgData name="Marc Feldkirchner" userId="c4135e70-53ec-4cd4-a1bd-4ca908459c8c" providerId="ADAL" clId="{7F9C2C8A-03C3-431A-BE04-83FBFEAB7D91}" dt="2022-02-25T11:57:40.366" v="208" actId="20577"/>
          <ac:spMkLst>
            <pc:docMk/>
            <pc:sldMk cId="3419691827" sldId="338"/>
            <ac:spMk id="200" creationId="{E72D0F0E-AAD2-486F-8138-31245D0542B4}"/>
          </ac:spMkLst>
        </pc:spChg>
        <pc:spChg chg="mod">
          <ac:chgData name="Marc Feldkirchner" userId="c4135e70-53ec-4cd4-a1bd-4ca908459c8c" providerId="ADAL" clId="{7F9C2C8A-03C3-431A-BE04-83FBFEAB7D91}" dt="2022-02-25T11:57:52.447" v="230" actId="5793"/>
          <ac:spMkLst>
            <pc:docMk/>
            <pc:sldMk cId="3419691827" sldId="338"/>
            <ac:spMk id="203" creationId="{759F80D8-6C58-4E1A-B555-224CA4CA6B5B}"/>
          </ac:spMkLst>
        </pc:spChg>
        <pc:spChg chg="mod">
          <ac:chgData name="Marc Feldkirchner" userId="c4135e70-53ec-4cd4-a1bd-4ca908459c8c" providerId="ADAL" clId="{7F9C2C8A-03C3-431A-BE04-83FBFEAB7D91}" dt="2022-02-25T11:57:56.422" v="245" actId="20577"/>
          <ac:spMkLst>
            <pc:docMk/>
            <pc:sldMk cId="3419691827" sldId="338"/>
            <ac:spMk id="206" creationId="{15F811F0-37F3-4874-9FC1-865B6871A749}"/>
          </ac:spMkLst>
        </pc:spChg>
        <pc:spChg chg="mod">
          <ac:chgData name="Marc Feldkirchner" userId="c4135e70-53ec-4cd4-a1bd-4ca908459c8c" providerId="ADAL" clId="{7F9C2C8A-03C3-431A-BE04-83FBFEAB7D91}" dt="2022-02-25T11:58:13.676" v="300" actId="20577"/>
          <ac:spMkLst>
            <pc:docMk/>
            <pc:sldMk cId="3419691827" sldId="338"/>
            <ac:spMk id="209" creationId="{0DF32D69-996A-4E30-8B25-8743FD9921FC}"/>
          </ac:spMkLst>
        </pc:spChg>
        <pc:spChg chg="mod">
          <ac:chgData name="Marc Feldkirchner" userId="c4135e70-53ec-4cd4-a1bd-4ca908459c8c" providerId="ADAL" clId="{7F9C2C8A-03C3-431A-BE04-83FBFEAB7D91}" dt="2022-02-25T11:58:17.748" v="314" actId="20577"/>
          <ac:spMkLst>
            <pc:docMk/>
            <pc:sldMk cId="3419691827" sldId="338"/>
            <ac:spMk id="212" creationId="{FD55FBBA-F3B3-4550-A4BA-838F44C7EDF0}"/>
          </ac:spMkLst>
        </pc:spChg>
      </pc:sldChg>
      <pc:sldChg chg="addSp delSp modSp mod">
        <pc:chgData name="Marc Feldkirchner" userId="c4135e70-53ec-4cd4-a1bd-4ca908459c8c" providerId="ADAL" clId="{7F9C2C8A-03C3-431A-BE04-83FBFEAB7D91}" dt="2022-03-10T22:04:35.172" v="1199" actId="206"/>
        <pc:sldMkLst>
          <pc:docMk/>
          <pc:sldMk cId="3038720959" sldId="339"/>
        </pc:sldMkLst>
        <pc:spChg chg="add mod">
          <ac:chgData name="Marc Feldkirchner" userId="c4135e70-53ec-4cd4-a1bd-4ca908459c8c" providerId="ADAL" clId="{7F9C2C8A-03C3-431A-BE04-83FBFEAB7D91}" dt="2022-03-10T22:04:35.172" v="1199" actId="206"/>
          <ac:spMkLst>
            <pc:docMk/>
            <pc:sldMk cId="3038720959" sldId="339"/>
            <ac:spMk id="6" creationId="{16090C5D-56C4-4908-BC0E-A379FCDEFFFB}"/>
          </ac:spMkLst>
        </pc:spChg>
        <pc:spChg chg="add del mod">
          <ac:chgData name="Marc Feldkirchner" userId="c4135e70-53ec-4cd4-a1bd-4ca908459c8c" providerId="ADAL" clId="{7F9C2C8A-03C3-431A-BE04-83FBFEAB7D91}" dt="2022-02-25T12:22:45.414" v="578" actId="478"/>
          <ac:spMkLst>
            <pc:docMk/>
            <pc:sldMk cId="3038720959" sldId="339"/>
            <ac:spMk id="7" creationId="{50D94D1B-E0AC-4F6F-9645-D20EB614A0E9}"/>
          </ac:spMkLst>
        </pc:spChg>
        <pc:spChg chg="add mod">
          <ac:chgData name="Marc Feldkirchner" userId="c4135e70-53ec-4cd4-a1bd-4ca908459c8c" providerId="ADAL" clId="{7F9C2C8A-03C3-431A-BE04-83FBFEAB7D91}" dt="2022-02-25T12:24:34.750" v="601" actId="20577"/>
          <ac:spMkLst>
            <pc:docMk/>
            <pc:sldMk cId="3038720959" sldId="339"/>
            <ac:spMk id="11" creationId="{6E811F8E-ABDF-4340-BC93-05401E4402FE}"/>
          </ac:spMkLst>
        </pc:spChg>
        <pc:spChg chg="del">
          <ac:chgData name="Marc Feldkirchner" userId="c4135e70-53ec-4cd4-a1bd-4ca908459c8c" providerId="ADAL" clId="{7F9C2C8A-03C3-431A-BE04-83FBFEAB7D91}" dt="2022-02-25T12:22:43.777" v="577" actId="478"/>
          <ac:spMkLst>
            <pc:docMk/>
            <pc:sldMk cId="3038720959" sldId="339"/>
            <ac:spMk id="44" creationId="{F0263D60-897F-4160-9111-2A0237EF0BD9}"/>
          </ac:spMkLst>
        </pc:spChg>
        <pc:cxnChg chg="add mod">
          <ac:chgData name="Marc Feldkirchner" userId="c4135e70-53ec-4cd4-a1bd-4ca908459c8c" providerId="ADAL" clId="{7F9C2C8A-03C3-431A-BE04-83FBFEAB7D91}" dt="2022-02-25T12:23:02.599" v="580" actId="1582"/>
          <ac:cxnSpMkLst>
            <pc:docMk/>
            <pc:sldMk cId="3038720959" sldId="339"/>
            <ac:cxnSpMk id="12" creationId="{2075D55A-D767-4218-82E6-9BDBE296B488}"/>
          </ac:cxnSpMkLst>
        </pc:cxnChg>
      </pc:sldChg>
      <pc:sldChg chg="addSp delSp modSp mod">
        <pc:chgData name="Marc Feldkirchner" userId="c4135e70-53ec-4cd4-a1bd-4ca908459c8c" providerId="ADAL" clId="{7F9C2C8A-03C3-431A-BE04-83FBFEAB7D91}" dt="2022-03-10T22:13:27.892" v="1217" actId="948"/>
        <pc:sldMkLst>
          <pc:docMk/>
          <pc:sldMk cId="254456047" sldId="340"/>
        </pc:sldMkLst>
        <pc:spChg chg="add mod">
          <ac:chgData name="Marc Feldkirchner" userId="c4135e70-53ec-4cd4-a1bd-4ca908459c8c" providerId="ADAL" clId="{7F9C2C8A-03C3-431A-BE04-83FBFEAB7D91}" dt="2022-02-25T12:22:38.597" v="576" actId="478"/>
          <ac:spMkLst>
            <pc:docMk/>
            <pc:sldMk cId="254456047" sldId="340"/>
            <ac:spMk id="5" creationId="{2E9A6766-F00D-4323-BE36-056D34CFB2AA}"/>
          </ac:spMkLst>
        </pc:spChg>
        <pc:spChg chg="mod">
          <ac:chgData name="Marc Feldkirchner" userId="c4135e70-53ec-4cd4-a1bd-4ca908459c8c" providerId="ADAL" clId="{7F9C2C8A-03C3-431A-BE04-83FBFEAB7D91}" dt="2022-03-10T22:13:27.892" v="1217" actId="948"/>
          <ac:spMkLst>
            <pc:docMk/>
            <pc:sldMk cId="254456047" sldId="340"/>
            <ac:spMk id="42" creationId="{E509F2C9-0253-4180-81FE-61E462E5DE0C}"/>
          </ac:spMkLst>
        </pc:spChg>
        <pc:spChg chg="del">
          <ac:chgData name="Marc Feldkirchner" userId="c4135e70-53ec-4cd4-a1bd-4ca908459c8c" providerId="ADAL" clId="{7F9C2C8A-03C3-431A-BE04-83FBFEAB7D91}" dt="2022-02-25T12:22:38.597" v="576" actId="478"/>
          <ac:spMkLst>
            <pc:docMk/>
            <pc:sldMk cId="254456047" sldId="340"/>
            <ac:spMk id="44" creationId="{F0263D60-897F-4160-9111-2A0237EF0BD9}"/>
          </ac:spMkLst>
        </pc:spChg>
      </pc:sldChg>
      <pc:sldChg chg="modSp mod">
        <pc:chgData name="Marc Feldkirchner" userId="c4135e70-53ec-4cd4-a1bd-4ca908459c8c" providerId="ADAL" clId="{7F9C2C8A-03C3-431A-BE04-83FBFEAB7D91}" dt="2022-03-01T06:54:51.770" v="1151" actId="20577"/>
        <pc:sldMkLst>
          <pc:docMk/>
          <pc:sldMk cId="4197691444" sldId="360"/>
        </pc:sldMkLst>
        <pc:spChg chg="mod">
          <ac:chgData name="Marc Feldkirchner" userId="c4135e70-53ec-4cd4-a1bd-4ca908459c8c" providerId="ADAL" clId="{7F9C2C8A-03C3-431A-BE04-83FBFEAB7D91}" dt="2022-03-01T06:54:51.770" v="1151" actId="20577"/>
          <ac:spMkLst>
            <pc:docMk/>
            <pc:sldMk cId="4197691444" sldId="360"/>
            <ac:spMk id="2" creationId="{444F4F07-08F2-411D-8565-363712D9D21E}"/>
          </ac:spMkLst>
        </pc:spChg>
      </pc:sldChg>
      <pc:sldChg chg="modSp mod">
        <pc:chgData name="Marc Feldkirchner" userId="c4135e70-53ec-4cd4-a1bd-4ca908459c8c" providerId="ADAL" clId="{7F9C2C8A-03C3-431A-BE04-83FBFEAB7D91}" dt="2022-03-01T06:54:25.733" v="1117" actId="20577"/>
        <pc:sldMkLst>
          <pc:docMk/>
          <pc:sldMk cId="206669884" sldId="361"/>
        </pc:sldMkLst>
        <pc:spChg chg="mod">
          <ac:chgData name="Marc Feldkirchner" userId="c4135e70-53ec-4cd4-a1bd-4ca908459c8c" providerId="ADAL" clId="{7F9C2C8A-03C3-431A-BE04-83FBFEAB7D91}" dt="2022-03-01T06:54:25.733" v="1117" actId="20577"/>
          <ac:spMkLst>
            <pc:docMk/>
            <pc:sldMk cId="206669884" sldId="361"/>
            <ac:spMk id="14" creationId="{9C58521B-A8E3-41CD-AAF8-C67FFCFC8BA9}"/>
          </ac:spMkLst>
        </pc:spChg>
      </pc:sldChg>
      <pc:sldChg chg="ord">
        <pc:chgData name="Marc Feldkirchner" userId="c4135e70-53ec-4cd4-a1bd-4ca908459c8c" providerId="ADAL" clId="{7F9C2C8A-03C3-431A-BE04-83FBFEAB7D91}" dt="2022-03-10T22:16:12.190" v="1219"/>
        <pc:sldMkLst>
          <pc:docMk/>
          <pc:sldMk cId="33598816" sldId="364"/>
        </pc:sldMkLst>
      </pc:sldChg>
      <pc:sldChg chg="addSp delSp modSp mod modClrScheme chgLayout">
        <pc:chgData name="Marc Feldkirchner" userId="c4135e70-53ec-4cd4-a1bd-4ca908459c8c" providerId="ADAL" clId="{7F9C2C8A-03C3-431A-BE04-83FBFEAB7D91}" dt="2022-02-25T12:39:27.537" v="1079" actId="478"/>
        <pc:sldMkLst>
          <pc:docMk/>
          <pc:sldMk cId="3852887038" sldId="376"/>
        </pc:sldMkLst>
        <pc:spChg chg="mod ord">
          <ac:chgData name="Marc Feldkirchner" userId="c4135e70-53ec-4cd4-a1bd-4ca908459c8c" providerId="ADAL" clId="{7F9C2C8A-03C3-431A-BE04-83FBFEAB7D91}" dt="2022-02-25T12:25:57.055" v="602" actId="700"/>
          <ac:spMkLst>
            <pc:docMk/>
            <pc:sldMk cId="3852887038" sldId="376"/>
            <ac:spMk id="3" creationId="{B601115C-3EA0-4D9B-BEAD-B307461820E5}"/>
          </ac:spMkLst>
        </pc:spChg>
        <pc:spChg chg="add del mod">
          <ac:chgData name="Marc Feldkirchner" userId="c4135e70-53ec-4cd4-a1bd-4ca908459c8c" providerId="ADAL" clId="{7F9C2C8A-03C3-431A-BE04-83FBFEAB7D91}" dt="2022-02-25T12:26:04.143" v="604" actId="478"/>
          <ac:spMkLst>
            <pc:docMk/>
            <pc:sldMk cId="3852887038" sldId="376"/>
            <ac:spMk id="4" creationId="{C7B688FB-DF1B-4EC0-A994-85DCE28FABF4}"/>
          </ac:spMkLst>
        </pc:spChg>
        <pc:spChg chg="add del mod">
          <ac:chgData name="Marc Feldkirchner" userId="c4135e70-53ec-4cd4-a1bd-4ca908459c8c" providerId="ADAL" clId="{7F9C2C8A-03C3-431A-BE04-83FBFEAB7D91}" dt="2022-02-25T12:33:25.708" v="1061" actId="255"/>
          <ac:spMkLst>
            <pc:docMk/>
            <pc:sldMk cId="3852887038" sldId="376"/>
            <ac:spMk id="5" creationId="{3920483C-C283-4670-85AC-CEE9F5666ECA}"/>
          </ac:spMkLst>
        </pc:spChg>
        <pc:spChg chg="mod ord">
          <ac:chgData name="Marc Feldkirchner" userId="c4135e70-53ec-4cd4-a1bd-4ca908459c8c" providerId="ADAL" clId="{7F9C2C8A-03C3-431A-BE04-83FBFEAB7D91}" dt="2022-02-25T12:26:40.680" v="658" actId="20577"/>
          <ac:spMkLst>
            <pc:docMk/>
            <pc:sldMk cId="3852887038" sldId="376"/>
            <ac:spMk id="6" creationId="{36339FD2-8A35-4FC8-9986-7A015E26F5C0}"/>
          </ac:spMkLst>
        </pc:spChg>
        <pc:spChg chg="add del mod">
          <ac:chgData name="Marc Feldkirchner" userId="c4135e70-53ec-4cd4-a1bd-4ca908459c8c" providerId="ADAL" clId="{7F9C2C8A-03C3-431A-BE04-83FBFEAB7D91}" dt="2022-02-25T12:31:38.224" v="897" actId="478"/>
          <ac:spMkLst>
            <pc:docMk/>
            <pc:sldMk cId="3852887038" sldId="376"/>
            <ac:spMk id="7" creationId="{62A3262E-CDA4-4DE1-A30E-4F1836D56761}"/>
          </ac:spMkLst>
        </pc:spChg>
        <pc:spChg chg="add del mod">
          <ac:chgData name="Marc Feldkirchner" userId="c4135e70-53ec-4cd4-a1bd-4ca908459c8c" providerId="ADAL" clId="{7F9C2C8A-03C3-431A-BE04-83FBFEAB7D91}" dt="2022-02-25T12:26:57.514" v="665" actId="478"/>
          <ac:spMkLst>
            <pc:docMk/>
            <pc:sldMk cId="3852887038" sldId="376"/>
            <ac:spMk id="8" creationId="{35240E59-9310-407A-8010-00747563B634}"/>
          </ac:spMkLst>
        </pc:spChg>
        <pc:spChg chg="add del mod">
          <ac:chgData name="Marc Feldkirchner" userId="c4135e70-53ec-4cd4-a1bd-4ca908459c8c" providerId="ADAL" clId="{7F9C2C8A-03C3-431A-BE04-83FBFEAB7D91}" dt="2022-02-25T12:28:39.043" v="791" actId="478"/>
          <ac:spMkLst>
            <pc:docMk/>
            <pc:sldMk cId="3852887038" sldId="376"/>
            <ac:spMk id="9" creationId="{5ABB458E-B1DB-45A3-89D1-32380F56BE37}"/>
          </ac:spMkLst>
        </pc:spChg>
        <pc:spChg chg="add del mod">
          <ac:chgData name="Marc Feldkirchner" userId="c4135e70-53ec-4cd4-a1bd-4ca908459c8c" providerId="ADAL" clId="{7F9C2C8A-03C3-431A-BE04-83FBFEAB7D91}" dt="2022-02-25T12:38:27.144" v="1075" actId="478"/>
          <ac:spMkLst>
            <pc:docMk/>
            <pc:sldMk cId="3852887038" sldId="376"/>
            <ac:spMk id="10" creationId="{999BD86B-44EF-44CB-AF5E-55A5D9F37A2C}"/>
          </ac:spMkLst>
        </pc:spChg>
        <pc:spChg chg="add del mod">
          <ac:chgData name="Marc Feldkirchner" userId="c4135e70-53ec-4cd4-a1bd-4ca908459c8c" providerId="ADAL" clId="{7F9C2C8A-03C3-431A-BE04-83FBFEAB7D91}" dt="2022-02-25T12:30:20.735" v="886" actId="478"/>
          <ac:spMkLst>
            <pc:docMk/>
            <pc:sldMk cId="3852887038" sldId="376"/>
            <ac:spMk id="11" creationId="{62634820-76E7-4098-AAEE-03E9F72B128D}"/>
          </ac:spMkLst>
        </pc:spChg>
        <pc:spChg chg="add del mod">
          <ac:chgData name="Marc Feldkirchner" userId="c4135e70-53ec-4cd4-a1bd-4ca908459c8c" providerId="ADAL" clId="{7F9C2C8A-03C3-431A-BE04-83FBFEAB7D91}" dt="2022-02-25T12:30:43.571" v="888" actId="478"/>
          <ac:spMkLst>
            <pc:docMk/>
            <pc:sldMk cId="3852887038" sldId="376"/>
            <ac:spMk id="12" creationId="{1C4C0107-359B-443C-BE1B-7063882AE7B2}"/>
          </ac:spMkLst>
        </pc:spChg>
        <pc:spChg chg="add del mod">
          <ac:chgData name="Marc Feldkirchner" userId="c4135e70-53ec-4cd4-a1bd-4ca908459c8c" providerId="ADAL" clId="{7F9C2C8A-03C3-431A-BE04-83FBFEAB7D91}" dt="2022-02-25T12:39:27.537" v="1079" actId="478"/>
          <ac:spMkLst>
            <pc:docMk/>
            <pc:sldMk cId="3852887038" sldId="376"/>
            <ac:spMk id="13" creationId="{B9FB477F-996E-44CF-83C2-17799FCD649D}"/>
          </ac:spMkLst>
        </pc:spChg>
        <pc:spChg chg="add del mod">
          <ac:chgData name="Marc Feldkirchner" userId="c4135e70-53ec-4cd4-a1bd-4ca908459c8c" providerId="ADAL" clId="{7F9C2C8A-03C3-431A-BE04-83FBFEAB7D91}" dt="2022-02-25T12:38:26.444" v="1074" actId="478"/>
          <ac:spMkLst>
            <pc:docMk/>
            <pc:sldMk cId="3852887038" sldId="376"/>
            <ac:spMk id="15" creationId="{C9866F9F-2917-4CBF-8740-45B6EC09EA19}"/>
          </ac:spMkLst>
        </pc:spChg>
        <pc:spChg chg="add del mod">
          <ac:chgData name="Marc Feldkirchner" userId="c4135e70-53ec-4cd4-a1bd-4ca908459c8c" providerId="ADAL" clId="{7F9C2C8A-03C3-431A-BE04-83FBFEAB7D91}" dt="2022-02-25T12:38:25.821" v="1073" actId="478"/>
          <ac:spMkLst>
            <pc:docMk/>
            <pc:sldMk cId="3852887038" sldId="376"/>
            <ac:spMk id="16" creationId="{BA5B52E0-5872-4CFB-9A92-9FE46F18F442}"/>
          </ac:spMkLst>
        </pc:spChg>
        <pc:spChg chg="del mod ord">
          <ac:chgData name="Marc Feldkirchner" userId="c4135e70-53ec-4cd4-a1bd-4ca908459c8c" providerId="ADAL" clId="{7F9C2C8A-03C3-431A-BE04-83FBFEAB7D91}" dt="2022-02-25T12:26:01.395" v="603" actId="478"/>
          <ac:spMkLst>
            <pc:docMk/>
            <pc:sldMk cId="3852887038" sldId="376"/>
            <ac:spMk id="42" creationId="{E509F2C9-0253-4180-81FE-61E462E5DE0C}"/>
          </ac:spMkLst>
        </pc:spChg>
        <pc:spChg chg="del mod ord">
          <ac:chgData name="Marc Feldkirchner" userId="c4135e70-53ec-4cd4-a1bd-4ca908459c8c" providerId="ADAL" clId="{7F9C2C8A-03C3-431A-BE04-83FBFEAB7D91}" dt="2022-02-25T12:26:06.348" v="605" actId="478"/>
          <ac:spMkLst>
            <pc:docMk/>
            <pc:sldMk cId="3852887038" sldId="376"/>
            <ac:spMk id="44" creationId="{F0263D60-897F-4160-9111-2A0237EF0BD9}"/>
          </ac:spMkLst>
        </pc:spChg>
      </pc:sldChg>
      <pc:sldChg chg="addSp delSp modSp mod">
        <pc:chgData name="Marc Feldkirchner" userId="c4135e70-53ec-4cd4-a1bd-4ca908459c8c" providerId="ADAL" clId="{7F9C2C8A-03C3-431A-BE04-83FBFEAB7D91}" dt="2022-03-10T22:11:19.741" v="1213" actId="478"/>
        <pc:sldMkLst>
          <pc:docMk/>
          <pc:sldMk cId="941330492" sldId="379"/>
        </pc:sldMkLst>
        <pc:spChg chg="add del mod">
          <ac:chgData name="Marc Feldkirchner" userId="c4135e70-53ec-4cd4-a1bd-4ca908459c8c" providerId="ADAL" clId="{7F9C2C8A-03C3-431A-BE04-83FBFEAB7D91}" dt="2022-03-10T22:11:19.741" v="1213" actId="478"/>
          <ac:spMkLst>
            <pc:docMk/>
            <pc:sldMk cId="941330492" sldId="379"/>
            <ac:spMk id="7" creationId="{E0152457-3D0B-4023-A75E-479D4CB3FCEF}"/>
          </ac:spMkLst>
        </pc:spChg>
        <pc:spChg chg="mod">
          <ac:chgData name="Marc Feldkirchner" userId="c4135e70-53ec-4cd4-a1bd-4ca908459c8c" providerId="ADAL" clId="{7F9C2C8A-03C3-431A-BE04-83FBFEAB7D91}" dt="2022-03-10T22:10:49.204" v="1206" actId="1076"/>
          <ac:spMkLst>
            <pc:docMk/>
            <pc:sldMk cId="941330492" sldId="379"/>
            <ac:spMk id="12" creationId="{23060116-439C-4F92-91A6-51953D835258}"/>
          </ac:spMkLst>
        </pc:spChg>
        <pc:spChg chg="add del mod">
          <ac:chgData name="Marc Feldkirchner" userId="c4135e70-53ec-4cd4-a1bd-4ca908459c8c" providerId="ADAL" clId="{7F9C2C8A-03C3-431A-BE04-83FBFEAB7D91}" dt="2022-03-10T22:11:18.907" v="1212" actId="478"/>
          <ac:spMkLst>
            <pc:docMk/>
            <pc:sldMk cId="941330492" sldId="379"/>
            <ac:spMk id="23" creationId="{B78BA95A-82BD-4F72-A55C-6778227CD8D2}"/>
          </ac:spMkLst>
        </pc:spChg>
      </pc:sldChg>
      <pc:sldChg chg="modSp">
        <pc:chgData name="Marc Feldkirchner" userId="c4135e70-53ec-4cd4-a1bd-4ca908459c8c" providerId="ADAL" clId="{7F9C2C8A-03C3-431A-BE04-83FBFEAB7D91}" dt="2022-02-25T12:23:34.505" v="587" actId="572"/>
        <pc:sldMkLst>
          <pc:docMk/>
          <pc:sldMk cId="216177301" sldId="380"/>
        </pc:sldMkLst>
        <pc:graphicFrameChg chg="mod">
          <ac:chgData name="Marc Feldkirchner" userId="c4135e70-53ec-4cd4-a1bd-4ca908459c8c" providerId="ADAL" clId="{7F9C2C8A-03C3-431A-BE04-83FBFEAB7D91}" dt="2022-02-25T12:23:34.505" v="587" actId="572"/>
          <ac:graphicFrameMkLst>
            <pc:docMk/>
            <pc:sldMk cId="216177301" sldId="380"/>
            <ac:graphicFrameMk id="12" creationId="{90A3AE64-04DB-4D3B-AC2B-2A4E8D7484AB}"/>
          </ac:graphicFrameMkLst>
        </pc:graphicFrameChg>
      </pc:sldChg>
      <pc:sldChg chg="modSp add del mod">
        <pc:chgData name="Marc Feldkirchner" userId="c4135e70-53ec-4cd4-a1bd-4ca908459c8c" providerId="ADAL" clId="{7F9C2C8A-03C3-431A-BE04-83FBFEAB7D91}" dt="2022-02-25T11:58:36.206" v="329" actId="47"/>
        <pc:sldMkLst>
          <pc:docMk/>
          <pc:sldMk cId="1105572835" sldId="381"/>
        </pc:sldMkLst>
        <pc:spChg chg="mod">
          <ac:chgData name="Marc Feldkirchner" userId="c4135e70-53ec-4cd4-a1bd-4ca908459c8c" providerId="ADAL" clId="{7F9C2C8A-03C3-431A-BE04-83FBFEAB7D91}" dt="2022-02-25T11:47:00.732" v="42"/>
          <ac:spMkLst>
            <pc:docMk/>
            <pc:sldMk cId="1105572835" sldId="381"/>
            <ac:spMk id="6" creationId="{8A12327F-1131-482D-954E-894DEC9EF3F1}"/>
          </ac:spMkLst>
        </pc:spChg>
      </pc:sldChg>
      <pc:sldChg chg="add">
        <pc:chgData name="Marc Feldkirchner" userId="c4135e70-53ec-4cd4-a1bd-4ca908459c8c" providerId="ADAL" clId="{7F9C2C8A-03C3-431A-BE04-83FBFEAB7D91}" dt="2022-03-22T16:40:06.620" v="1931"/>
        <pc:sldMkLst>
          <pc:docMk/>
          <pc:sldMk cId="2169851743" sldId="382"/>
        </pc:sldMkLst>
      </pc:sldChg>
      <pc:sldChg chg="add del">
        <pc:chgData name="Marc Feldkirchner" userId="c4135e70-53ec-4cd4-a1bd-4ca908459c8c" providerId="ADAL" clId="{7F9C2C8A-03C3-431A-BE04-83FBFEAB7D91}" dt="2022-02-25T11:58:36.206" v="329" actId="47"/>
        <pc:sldMkLst>
          <pc:docMk/>
          <pc:sldMk cId="3354193982" sldId="382"/>
        </pc:sldMkLst>
      </pc:sldChg>
      <pc:sldChg chg="addSp delSp modSp new del mod">
        <pc:chgData name="Marc Feldkirchner" userId="c4135e70-53ec-4cd4-a1bd-4ca908459c8c" providerId="ADAL" clId="{7F9C2C8A-03C3-431A-BE04-83FBFEAB7D91}" dt="2022-02-25T12:22:31.311" v="575" actId="47"/>
        <pc:sldMkLst>
          <pc:docMk/>
          <pc:sldMk cId="1508556238" sldId="383"/>
        </pc:sldMkLst>
        <pc:spChg chg="del">
          <ac:chgData name="Marc Feldkirchner" userId="c4135e70-53ec-4cd4-a1bd-4ca908459c8c" providerId="ADAL" clId="{7F9C2C8A-03C3-431A-BE04-83FBFEAB7D91}" dt="2022-02-25T11:49:02.390" v="45" actId="478"/>
          <ac:spMkLst>
            <pc:docMk/>
            <pc:sldMk cId="1508556238" sldId="383"/>
            <ac:spMk id="5" creationId="{C233532D-9499-4806-8FEC-8A9A79CAE540}"/>
          </ac:spMkLst>
        </pc:spChg>
        <pc:spChg chg="add del mod">
          <ac:chgData name="Marc Feldkirchner" userId="c4135e70-53ec-4cd4-a1bd-4ca908459c8c" providerId="ADAL" clId="{7F9C2C8A-03C3-431A-BE04-83FBFEAB7D91}" dt="2022-02-25T11:50:07.340" v="55" actId="478"/>
          <ac:spMkLst>
            <pc:docMk/>
            <pc:sldMk cId="1508556238" sldId="383"/>
            <ac:spMk id="6" creationId="{CF98E042-AF62-47F0-B809-E651D6938282}"/>
          </ac:spMkLst>
        </pc:spChg>
        <pc:spChg chg="add del mod">
          <ac:chgData name="Marc Feldkirchner" userId="c4135e70-53ec-4cd4-a1bd-4ca908459c8c" providerId="ADAL" clId="{7F9C2C8A-03C3-431A-BE04-83FBFEAB7D91}" dt="2022-02-25T11:50:07.340" v="55" actId="478"/>
          <ac:spMkLst>
            <pc:docMk/>
            <pc:sldMk cId="1508556238" sldId="383"/>
            <ac:spMk id="7" creationId="{5A78C001-EB71-4D52-9C2A-D0D91B830629}"/>
          </ac:spMkLst>
        </pc:spChg>
        <pc:spChg chg="add del mod ord">
          <ac:chgData name="Marc Feldkirchner" userId="c4135e70-53ec-4cd4-a1bd-4ca908459c8c" providerId="ADAL" clId="{7F9C2C8A-03C3-431A-BE04-83FBFEAB7D91}" dt="2022-02-25T12:22:29.312" v="574" actId="478"/>
          <ac:spMkLst>
            <pc:docMk/>
            <pc:sldMk cId="1508556238" sldId="383"/>
            <ac:spMk id="11" creationId="{D1B7FAD2-5E82-43D1-9176-E1269EA0F0FE}"/>
          </ac:spMkLst>
        </pc:spChg>
        <pc:cxnChg chg="add del mod">
          <ac:chgData name="Marc Feldkirchner" userId="c4135e70-53ec-4cd4-a1bd-4ca908459c8c" providerId="ADAL" clId="{7F9C2C8A-03C3-431A-BE04-83FBFEAB7D91}" dt="2022-02-25T12:22:29.312" v="574" actId="478"/>
          <ac:cxnSpMkLst>
            <pc:docMk/>
            <pc:sldMk cId="1508556238" sldId="383"/>
            <ac:cxnSpMk id="9" creationId="{C0737131-01FF-4A40-907B-D1D74D410947}"/>
          </ac:cxnSpMkLst>
        </pc:cxnChg>
      </pc:sldChg>
      <pc:sldChg chg="modSp add mod">
        <pc:chgData name="Marc Feldkirchner" userId="c4135e70-53ec-4cd4-a1bd-4ca908459c8c" providerId="ADAL" clId="{7F9C2C8A-03C3-431A-BE04-83FBFEAB7D91}" dt="2022-02-25T12:08:18.753" v="503" actId="20577"/>
        <pc:sldMkLst>
          <pc:docMk/>
          <pc:sldMk cId="1045533942" sldId="384"/>
        </pc:sldMkLst>
        <pc:spChg chg="mod">
          <ac:chgData name="Marc Feldkirchner" userId="c4135e70-53ec-4cd4-a1bd-4ca908459c8c" providerId="ADAL" clId="{7F9C2C8A-03C3-431A-BE04-83FBFEAB7D91}" dt="2022-02-25T12:06:52.165" v="414" actId="553"/>
          <ac:spMkLst>
            <pc:docMk/>
            <pc:sldMk cId="1045533942" sldId="384"/>
            <ac:spMk id="33" creationId="{263113CB-4CD9-44E3-ABA2-180A4AC766D6}"/>
          </ac:spMkLst>
        </pc:spChg>
        <pc:spChg chg="mod">
          <ac:chgData name="Marc Feldkirchner" userId="c4135e70-53ec-4cd4-a1bd-4ca908459c8c" providerId="ADAL" clId="{7F9C2C8A-03C3-431A-BE04-83FBFEAB7D91}" dt="2022-02-25T12:06:43.810" v="413" actId="552"/>
          <ac:spMkLst>
            <pc:docMk/>
            <pc:sldMk cId="1045533942" sldId="384"/>
            <ac:spMk id="34" creationId="{D50652B0-02F6-4DC9-B219-540C00F398C8}"/>
          </ac:spMkLst>
        </pc:spChg>
        <pc:spChg chg="mod">
          <ac:chgData name="Marc Feldkirchner" userId="c4135e70-53ec-4cd4-a1bd-4ca908459c8c" providerId="ADAL" clId="{7F9C2C8A-03C3-431A-BE04-83FBFEAB7D91}" dt="2022-02-25T12:06:52.165" v="414" actId="553"/>
          <ac:spMkLst>
            <pc:docMk/>
            <pc:sldMk cId="1045533942" sldId="384"/>
            <ac:spMk id="35" creationId="{BBC7F6AD-6921-4ACF-B45E-17375A3F9F3D}"/>
          </ac:spMkLst>
        </pc:spChg>
        <pc:spChg chg="mod">
          <ac:chgData name="Marc Feldkirchner" userId="c4135e70-53ec-4cd4-a1bd-4ca908459c8c" providerId="ADAL" clId="{7F9C2C8A-03C3-431A-BE04-83FBFEAB7D91}" dt="2022-02-25T12:06:43.810" v="413" actId="552"/>
          <ac:spMkLst>
            <pc:docMk/>
            <pc:sldMk cId="1045533942" sldId="384"/>
            <ac:spMk id="36" creationId="{85521C35-6CE7-4ECC-8F11-10793F43E7FA}"/>
          </ac:spMkLst>
        </pc:spChg>
        <pc:spChg chg="mod">
          <ac:chgData name="Marc Feldkirchner" userId="c4135e70-53ec-4cd4-a1bd-4ca908459c8c" providerId="ADAL" clId="{7F9C2C8A-03C3-431A-BE04-83FBFEAB7D91}" dt="2022-02-25T12:06:52.165" v="414" actId="553"/>
          <ac:spMkLst>
            <pc:docMk/>
            <pc:sldMk cId="1045533942" sldId="384"/>
            <ac:spMk id="39" creationId="{D87F1C78-F62E-42EB-920E-50210B835B8C}"/>
          </ac:spMkLst>
        </pc:spChg>
        <pc:spChg chg="mod">
          <ac:chgData name="Marc Feldkirchner" userId="c4135e70-53ec-4cd4-a1bd-4ca908459c8c" providerId="ADAL" clId="{7F9C2C8A-03C3-431A-BE04-83FBFEAB7D91}" dt="2022-02-25T12:06:52.165" v="414" actId="553"/>
          <ac:spMkLst>
            <pc:docMk/>
            <pc:sldMk cId="1045533942" sldId="384"/>
            <ac:spMk id="40" creationId="{E96176A8-49A1-4A98-B344-E18E879717A3}"/>
          </ac:spMkLst>
        </pc:spChg>
        <pc:spChg chg="mod">
          <ac:chgData name="Marc Feldkirchner" userId="c4135e70-53ec-4cd4-a1bd-4ca908459c8c" providerId="ADAL" clId="{7F9C2C8A-03C3-431A-BE04-83FBFEAB7D91}" dt="2022-02-25T12:06:43.810" v="413" actId="552"/>
          <ac:spMkLst>
            <pc:docMk/>
            <pc:sldMk cId="1045533942" sldId="384"/>
            <ac:spMk id="41" creationId="{D8351968-52D9-4CF5-B1B9-1E5F16DAD8A2}"/>
          </ac:spMkLst>
        </pc:spChg>
        <pc:spChg chg="mod">
          <ac:chgData name="Marc Feldkirchner" userId="c4135e70-53ec-4cd4-a1bd-4ca908459c8c" providerId="ADAL" clId="{7F9C2C8A-03C3-431A-BE04-83FBFEAB7D91}" dt="2022-02-25T12:06:43.810" v="413" actId="552"/>
          <ac:spMkLst>
            <pc:docMk/>
            <pc:sldMk cId="1045533942" sldId="384"/>
            <ac:spMk id="42" creationId="{D9A06F0E-91F5-433D-84E1-E2ADFB411A12}"/>
          </ac:spMkLst>
        </pc:spChg>
        <pc:spChg chg="mod">
          <ac:chgData name="Marc Feldkirchner" userId="c4135e70-53ec-4cd4-a1bd-4ca908459c8c" providerId="ADAL" clId="{7F9C2C8A-03C3-431A-BE04-83FBFEAB7D91}" dt="2022-02-25T12:08:18.753" v="503" actId="20577"/>
          <ac:spMkLst>
            <pc:docMk/>
            <pc:sldMk cId="1045533942" sldId="384"/>
            <ac:spMk id="45" creationId="{0B1198CB-D12B-421A-93D0-8C56312E30F4}"/>
          </ac:spMkLst>
        </pc:spChg>
        <pc:spChg chg="mod">
          <ac:chgData name="Marc Feldkirchner" userId="c4135e70-53ec-4cd4-a1bd-4ca908459c8c" providerId="ADAL" clId="{7F9C2C8A-03C3-431A-BE04-83FBFEAB7D91}" dt="2022-02-25T12:07:08.431" v="438" actId="20577"/>
          <ac:spMkLst>
            <pc:docMk/>
            <pc:sldMk cId="1045533942" sldId="384"/>
            <ac:spMk id="179" creationId="{BA596FC9-79E8-4C8F-B716-4B680640466C}"/>
          </ac:spMkLst>
        </pc:spChg>
        <pc:spChg chg="mod">
          <ac:chgData name="Marc Feldkirchner" userId="c4135e70-53ec-4cd4-a1bd-4ca908459c8c" providerId="ADAL" clId="{7F9C2C8A-03C3-431A-BE04-83FBFEAB7D91}" dt="2022-02-25T12:07:01.485" v="426" actId="20577"/>
          <ac:spMkLst>
            <pc:docMk/>
            <pc:sldMk cId="1045533942" sldId="384"/>
            <ac:spMk id="182" creationId="{BA714521-F0A9-44FA-B5A8-FD27D3EFC840}"/>
          </ac:spMkLst>
        </pc:spChg>
        <pc:spChg chg="mod">
          <ac:chgData name="Marc Feldkirchner" userId="c4135e70-53ec-4cd4-a1bd-4ca908459c8c" providerId="ADAL" clId="{7F9C2C8A-03C3-431A-BE04-83FBFEAB7D91}" dt="2022-02-25T12:04:53.122" v="398" actId="1076"/>
          <ac:spMkLst>
            <pc:docMk/>
            <pc:sldMk cId="1045533942" sldId="384"/>
            <ac:spMk id="184" creationId="{F57A899F-DDD4-49AB-B9FC-0358D18E82DF}"/>
          </ac:spMkLst>
        </pc:spChg>
        <pc:spChg chg="mod">
          <ac:chgData name="Marc Feldkirchner" userId="c4135e70-53ec-4cd4-a1bd-4ca908459c8c" providerId="ADAL" clId="{7F9C2C8A-03C3-431A-BE04-83FBFEAB7D91}" dt="2022-02-25T12:07:22.473" v="463" actId="20577"/>
          <ac:spMkLst>
            <pc:docMk/>
            <pc:sldMk cId="1045533942" sldId="384"/>
            <ac:spMk id="185" creationId="{1136CD69-C074-465E-B9C4-D5F64CE0B09B}"/>
          </ac:spMkLst>
        </pc:spChg>
        <pc:spChg chg="mod">
          <ac:chgData name="Marc Feldkirchner" userId="c4135e70-53ec-4cd4-a1bd-4ca908459c8c" providerId="ADAL" clId="{7F9C2C8A-03C3-431A-BE04-83FBFEAB7D91}" dt="2022-02-25T12:05:18.088" v="403" actId="1076"/>
          <ac:spMkLst>
            <pc:docMk/>
            <pc:sldMk cId="1045533942" sldId="384"/>
            <ac:spMk id="187" creationId="{9D006762-F0F3-4076-BE97-6124B4FABEA5}"/>
          </ac:spMkLst>
        </pc:spChg>
        <pc:spChg chg="mod">
          <ac:chgData name="Marc Feldkirchner" userId="c4135e70-53ec-4cd4-a1bd-4ca908459c8c" providerId="ADAL" clId="{7F9C2C8A-03C3-431A-BE04-83FBFEAB7D91}" dt="2022-02-25T12:07:33.801" v="487" actId="20577"/>
          <ac:spMkLst>
            <pc:docMk/>
            <pc:sldMk cId="1045533942" sldId="384"/>
            <ac:spMk id="188" creationId="{0100F361-9136-43CC-9E16-CF4F0116BC89}"/>
          </ac:spMkLst>
        </pc:spChg>
        <pc:spChg chg="mod">
          <ac:chgData name="Marc Feldkirchner" userId="c4135e70-53ec-4cd4-a1bd-4ca908459c8c" providerId="ADAL" clId="{7F9C2C8A-03C3-431A-BE04-83FBFEAB7D91}" dt="2022-02-25T12:06:04.842" v="407" actId="1076"/>
          <ac:spMkLst>
            <pc:docMk/>
            <pc:sldMk cId="1045533942" sldId="384"/>
            <ac:spMk id="190" creationId="{6F267383-00ED-4749-BF8E-39A206F44ECD}"/>
          </ac:spMkLst>
        </pc:spChg>
        <pc:spChg chg="mod">
          <ac:chgData name="Marc Feldkirchner" userId="c4135e70-53ec-4cd4-a1bd-4ca908459c8c" providerId="ADAL" clId="{7F9C2C8A-03C3-431A-BE04-83FBFEAB7D91}" dt="2022-02-25T12:07:14.298" v="445" actId="20577"/>
          <ac:spMkLst>
            <pc:docMk/>
            <pc:sldMk cId="1045533942" sldId="384"/>
            <ac:spMk id="191" creationId="{7ECDB696-7E06-4989-9BAE-8071ABC83A16}"/>
          </ac:spMkLst>
        </pc:spChg>
        <pc:spChg chg="mod">
          <ac:chgData name="Marc Feldkirchner" userId="c4135e70-53ec-4cd4-a1bd-4ca908459c8c" providerId="ADAL" clId="{7F9C2C8A-03C3-431A-BE04-83FBFEAB7D91}" dt="2022-02-25T12:06:32.636" v="412" actId="1076"/>
          <ac:spMkLst>
            <pc:docMk/>
            <pc:sldMk cId="1045533942" sldId="384"/>
            <ac:spMk id="193" creationId="{4407F2A3-C74A-414D-8577-CB1F9BFBFCF1}"/>
          </ac:spMkLst>
        </pc:spChg>
        <pc:spChg chg="mod">
          <ac:chgData name="Marc Feldkirchner" userId="c4135e70-53ec-4cd4-a1bd-4ca908459c8c" providerId="ADAL" clId="{7F9C2C8A-03C3-431A-BE04-83FBFEAB7D91}" dt="2022-02-25T12:07:25.663" v="469" actId="20577"/>
          <ac:spMkLst>
            <pc:docMk/>
            <pc:sldMk cId="1045533942" sldId="384"/>
            <ac:spMk id="194" creationId="{8BA74258-D9BE-4090-AFA9-5A9656D0DD6E}"/>
          </ac:spMkLst>
        </pc:spChg>
        <pc:spChg chg="mod">
          <ac:chgData name="Marc Feldkirchner" userId="c4135e70-53ec-4cd4-a1bd-4ca908459c8c" providerId="ADAL" clId="{7F9C2C8A-03C3-431A-BE04-83FBFEAB7D91}" dt="2022-02-25T12:07:05.994" v="432" actId="20577"/>
          <ac:spMkLst>
            <pc:docMk/>
            <pc:sldMk cId="1045533942" sldId="384"/>
            <ac:spMk id="197" creationId="{85D1901C-874E-4D64-B494-BF73E5D9949F}"/>
          </ac:spMkLst>
        </pc:spChg>
        <pc:spChg chg="mod">
          <ac:chgData name="Marc Feldkirchner" userId="c4135e70-53ec-4cd4-a1bd-4ca908459c8c" providerId="ADAL" clId="{7F9C2C8A-03C3-431A-BE04-83FBFEAB7D91}" dt="2022-02-25T12:07:11.306" v="439" actId="313"/>
          <ac:spMkLst>
            <pc:docMk/>
            <pc:sldMk cId="1045533942" sldId="384"/>
            <ac:spMk id="200" creationId="{E72D0F0E-AAD2-486F-8138-31245D0542B4}"/>
          </ac:spMkLst>
        </pc:spChg>
        <pc:spChg chg="mod">
          <ac:chgData name="Marc Feldkirchner" userId="c4135e70-53ec-4cd4-a1bd-4ca908459c8c" providerId="ADAL" clId="{7F9C2C8A-03C3-431A-BE04-83FBFEAB7D91}" dt="2022-02-25T12:06:09.423" v="408" actId="1076"/>
          <ac:spMkLst>
            <pc:docMk/>
            <pc:sldMk cId="1045533942" sldId="384"/>
            <ac:spMk id="202" creationId="{F69CD99C-670E-4658-B02C-1E7E62DDFD77}"/>
          </ac:spMkLst>
        </pc:spChg>
        <pc:spChg chg="mod">
          <ac:chgData name="Marc Feldkirchner" userId="c4135e70-53ec-4cd4-a1bd-4ca908459c8c" providerId="ADAL" clId="{7F9C2C8A-03C3-431A-BE04-83FBFEAB7D91}" dt="2022-02-25T12:07:17.424" v="451" actId="20577"/>
          <ac:spMkLst>
            <pc:docMk/>
            <pc:sldMk cId="1045533942" sldId="384"/>
            <ac:spMk id="203" creationId="{759F80D8-6C58-4E1A-B555-224CA4CA6B5B}"/>
          </ac:spMkLst>
        </pc:spChg>
        <pc:spChg chg="mod">
          <ac:chgData name="Marc Feldkirchner" userId="c4135e70-53ec-4cd4-a1bd-4ca908459c8c" providerId="ADAL" clId="{7F9C2C8A-03C3-431A-BE04-83FBFEAB7D91}" dt="2022-02-25T12:06:12.495" v="409" actId="1076"/>
          <ac:spMkLst>
            <pc:docMk/>
            <pc:sldMk cId="1045533942" sldId="384"/>
            <ac:spMk id="205" creationId="{AAD21B5D-A139-4009-AB75-BA9E4F6C4C10}"/>
          </ac:spMkLst>
        </pc:spChg>
        <pc:spChg chg="mod">
          <ac:chgData name="Marc Feldkirchner" userId="c4135e70-53ec-4cd4-a1bd-4ca908459c8c" providerId="ADAL" clId="{7F9C2C8A-03C3-431A-BE04-83FBFEAB7D91}" dt="2022-02-25T12:07:20.166" v="457" actId="20577"/>
          <ac:spMkLst>
            <pc:docMk/>
            <pc:sldMk cId="1045533942" sldId="384"/>
            <ac:spMk id="206" creationId="{15F811F0-37F3-4874-9FC1-865B6871A749}"/>
          </ac:spMkLst>
        </pc:spChg>
        <pc:spChg chg="mod">
          <ac:chgData name="Marc Feldkirchner" userId="c4135e70-53ec-4cd4-a1bd-4ca908459c8c" providerId="ADAL" clId="{7F9C2C8A-03C3-431A-BE04-83FBFEAB7D91}" dt="2022-02-25T12:06:28.166" v="411" actId="1076"/>
          <ac:spMkLst>
            <pc:docMk/>
            <pc:sldMk cId="1045533942" sldId="384"/>
            <ac:spMk id="208" creationId="{5FC69E20-5CF8-414D-9D04-0FC1C0A0438F}"/>
          </ac:spMkLst>
        </pc:spChg>
        <pc:spChg chg="mod">
          <ac:chgData name="Marc Feldkirchner" userId="c4135e70-53ec-4cd4-a1bd-4ca908459c8c" providerId="ADAL" clId="{7F9C2C8A-03C3-431A-BE04-83FBFEAB7D91}" dt="2022-02-25T12:07:28.347" v="475" actId="20577"/>
          <ac:spMkLst>
            <pc:docMk/>
            <pc:sldMk cId="1045533942" sldId="384"/>
            <ac:spMk id="209" creationId="{0DF32D69-996A-4E30-8B25-8743FD9921FC}"/>
          </ac:spMkLst>
        </pc:spChg>
        <pc:spChg chg="mod">
          <ac:chgData name="Marc Feldkirchner" userId="c4135e70-53ec-4cd4-a1bd-4ca908459c8c" providerId="ADAL" clId="{7F9C2C8A-03C3-431A-BE04-83FBFEAB7D91}" dt="2022-02-25T12:06:23.201" v="410" actId="1076"/>
          <ac:spMkLst>
            <pc:docMk/>
            <pc:sldMk cId="1045533942" sldId="384"/>
            <ac:spMk id="211" creationId="{D7D67B0B-1B2A-47EF-B324-2111E1A3897F}"/>
          </ac:spMkLst>
        </pc:spChg>
        <pc:spChg chg="mod">
          <ac:chgData name="Marc Feldkirchner" userId="c4135e70-53ec-4cd4-a1bd-4ca908459c8c" providerId="ADAL" clId="{7F9C2C8A-03C3-431A-BE04-83FBFEAB7D91}" dt="2022-02-25T12:07:30.713" v="481" actId="20577"/>
          <ac:spMkLst>
            <pc:docMk/>
            <pc:sldMk cId="1045533942" sldId="384"/>
            <ac:spMk id="212" creationId="{FD55FBBA-F3B3-4550-A4BA-838F44C7EDF0}"/>
          </ac:spMkLst>
        </pc:spChg>
      </pc:sldChg>
      <pc:sldChg chg="modSp add del mod">
        <pc:chgData name="Marc Feldkirchner" userId="c4135e70-53ec-4cd4-a1bd-4ca908459c8c" providerId="ADAL" clId="{7F9C2C8A-03C3-431A-BE04-83FBFEAB7D91}" dt="2022-02-25T11:59:52.487" v="370" actId="47"/>
        <pc:sldMkLst>
          <pc:docMk/>
          <pc:sldMk cId="3556759864" sldId="384"/>
        </pc:sldMkLst>
        <pc:spChg chg="mod">
          <ac:chgData name="Marc Feldkirchner" userId="c4135e70-53ec-4cd4-a1bd-4ca908459c8c" providerId="ADAL" clId="{7F9C2C8A-03C3-431A-BE04-83FBFEAB7D91}" dt="2022-02-25T11:58:51.727" v="333" actId="20577"/>
          <ac:spMkLst>
            <pc:docMk/>
            <pc:sldMk cId="3556759864" sldId="384"/>
            <ac:spMk id="45" creationId="{0B1198CB-D12B-421A-93D0-8C56312E30F4}"/>
          </ac:spMkLst>
        </pc:spChg>
      </pc:sldChg>
      <pc:sldChg chg="addSp delSp modSp add mod">
        <pc:chgData name="Marc Feldkirchner" userId="c4135e70-53ec-4cd4-a1bd-4ca908459c8c" providerId="ADAL" clId="{7F9C2C8A-03C3-431A-BE04-83FBFEAB7D91}" dt="2022-02-25T12:21:19.294" v="573" actId="5793"/>
        <pc:sldMkLst>
          <pc:docMk/>
          <pc:sldMk cId="1769863677" sldId="385"/>
        </pc:sldMkLst>
        <pc:spChg chg="add del mod">
          <ac:chgData name="Marc Feldkirchner" userId="c4135e70-53ec-4cd4-a1bd-4ca908459c8c" providerId="ADAL" clId="{7F9C2C8A-03C3-431A-BE04-83FBFEAB7D91}" dt="2022-02-25T12:08:05.923" v="491" actId="478"/>
          <ac:spMkLst>
            <pc:docMk/>
            <pc:sldMk cId="1769863677" sldId="385"/>
            <ac:spMk id="3" creationId="{CB3E5B52-A57D-48BD-9C77-1A90F20D1F33}"/>
          </ac:spMkLst>
        </pc:spChg>
        <pc:spChg chg="add del mod">
          <ac:chgData name="Marc Feldkirchner" userId="c4135e70-53ec-4cd4-a1bd-4ca908459c8c" providerId="ADAL" clId="{7F9C2C8A-03C3-431A-BE04-83FBFEAB7D91}" dt="2022-02-25T12:08:05.923" v="491" actId="478"/>
          <ac:spMkLst>
            <pc:docMk/>
            <pc:sldMk cId="1769863677" sldId="385"/>
            <ac:spMk id="5" creationId="{BFF9F476-61A3-402D-80F2-AD8177614424}"/>
          </ac:spMkLst>
        </pc:spChg>
        <pc:spChg chg="add del mod">
          <ac:chgData name="Marc Feldkirchner" userId="c4135e70-53ec-4cd4-a1bd-4ca908459c8c" providerId="ADAL" clId="{7F9C2C8A-03C3-431A-BE04-83FBFEAB7D91}" dt="2022-02-25T12:08:05.923" v="491" actId="478"/>
          <ac:spMkLst>
            <pc:docMk/>
            <pc:sldMk cId="1769863677" sldId="385"/>
            <ac:spMk id="8" creationId="{C2CDE81C-C19E-4FA9-BC5D-9F56EC9C9DAD}"/>
          </ac:spMkLst>
        </pc:spChg>
        <pc:spChg chg="add del mod">
          <ac:chgData name="Marc Feldkirchner" userId="c4135e70-53ec-4cd4-a1bd-4ca908459c8c" providerId="ADAL" clId="{7F9C2C8A-03C3-431A-BE04-83FBFEAB7D91}" dt="2022-02-25T12:08:05.923" v="491" actId="478"/>
          <ac:spMkLst>
            <pc:docMk/>
            <pc:sldMk cId="1769863677" sldId="385"/>
            <ac:spMk id="10" creationId="{2523632E-3B52-4FE7-8059-D5A9CE4531A8}"/>
          </ac:spMkLst>
        </pc:spChg>
        <pc:spChg chg="add del mod">
          <ac:chgData name="Marc Feldkirchner" userId="c4135e70-53ec-4cd4-a1bd-4ca908459c8c" providerId="ADAL" clId="{7F9C2C8A-03C3-431A-BE04-83FBFEAB7D91}" dt="2022-02-25T12:08:05.923" v="491" actId="478"/>
          <ac:spMkLst>
            <pc:docMk/>
            <pc:sldMk cId="1769863677" sldId="385"/>
            <ac:spMk id="12" creationId="{378836B2-350A-4B64-A824-CFBB669BF9D3}"/>
          </ac:spMkLst>
        </pc:spChg>
        <pc:spChg chg="add del mod">
          <ac:chgData name="Marc Feldkirchner" userId="c4135e70-53ec-4cd4-a1bd-4ca908459c8c" providerId="ADAL" clId="{7F9C2C8A-03C3-431A-BE04-83FBFEAB7D91}" dt="2022-02-25T12:08:05.923" v="491" actId="478"/>
          <ac:spMkLst>
            <pc:docMk/>
            <pc:sldMk cId="1769863677" sldId="385"/>
            <ac:spMk id="14" creationId="{5F6019A0-A30E-44A6-A083-49ABDFA1DCA9}"/>
          </ac:spMkLst>
        </pc:spChg>
        <pc:spChg chg="add del mod">
          <ac:chgData name="Marc Feldkirchner" userId="c4135e70-53ec-4cd4-a1bd-4ca908459c8c" providerId="ADAL" clId="{7F9C2C8A-03C3-431A-BE04-83FBFEAB7D91}" dt="2022-02-25T12:08:05.923" v="491" actId="478"/>
          <ac:spMkLst>
            <pc:docMk/>
            <pc:sldMk cId="1769863677" sldId="385"/>
            <ac:spMk id="16" creationId="{78EB17EC-28BB-45C3-9637-02019DEFB2D3}"/>
          </ac:spMkLst>
        </pc:spChg>
        <pc:spChg chg="add del mod">
          <ac:chgData name="Marc Feldkirchner" userId="c4135e70-53ec-4cd4-a1bd-4ca908459c8c" providerId="ADAL" clId="{7F9C2C8A-03C3-431A-BE04-83FBFEAB7D91}" dt="2022-02-25T12:08:05.923" v="491" actId="478"/>
          <ac:spMkLst>
            <pc:docMk/>
            <pc:sldMk cId="1769863677" sldId="385"/>
            <ac:spMk id="18" creationId="{7BF2D4BE-C038-4596-92A2-16B80B6C6015}"/>
          </ac:spMkLst>
        </pc:spChg>
        <pc:spChg chg="mod">
          <ac:chgData name="Marc Feldkirchner" userId="c4135e70-53ec-4cd4-a1bd-4ca908459c8c" providerId="ADAL" clId="{7F9C2C8A-03C3-431A-BE04-83FBFEAB7D91}" dt="2022-02-25T12:20:56.006" v="525" actId="553"/>
          <ac:spMkLst>
            <pc:docMk/>
            <pc:sldMk cId="1769863677" sldId="385"/>
            <ac:spMk id="33" creationId="{263113CB-4CD9-44E3-ABA2-180A4AC766D6}"/>
          </ac:spMkLst>
        </pc:spChg>
        <pc:spChg chg="del">
          <ac:chgData name="Marc Feldkirchner" userId="c4135e70-53ec-4cd4-a1bd-4ca908459c8c" providerId="ADAL" clId="{7F9C2C8A-03C3-431A-BE04-83FBFEAB7D91}" dt="2022-02-25T12:08:03.283" v="490" actId="478"/>
          <ac:spMkLst>
            <pc:docMk/>
            <pc:sldMk cId="1769863677" sldId="385"/>
            <ac:spMk id="34" creationId="{D50652B0-02F6-4DC9-B219-540C00F398C8}"/>
          </ac:spMkLst>
        </pc:spChg>
        <pc:spChg chg="mod">
          <ac:chgData name="Marc Feldkirchner" userId="c4135e70-53ec-4cd4-a1bd-4ca908459c8c" providerId="ADAL" clId="{7F9C2C8A-03C3-431A-BE04-83FBFEAB7D91}" dt="2022-02-25T12:20:56.006" v="525" actId="553"/>
          <ac:spMkLst>
            <pc:docMk/>
            <pc:sldMk cId="1769863677" sldId="385"/>
            <ac:spMk id="35" creationId="{BBC7F6AD-6921-4ACF-B45E-17375A3F9F3D}"/>
          </ac:spMkLst>
        </pc:spChg>
        <pc:spChg chg="del">
          <ac:chgData name="Marc Feldkirchner" userId="c4135e70-53ec-4cd4-a1bd-4ca908459c8c" providerId="ADAL" clId="{7F9C2C8A-03C3-431A-BE04-83FBFEAB7D91}" dt="2022-02-25T12:08:03.283" v="490" actId="478"/>
          <ac:spMkLst>
            <pc:docMk/>
            <pc:sldMk cId="1769863677" sldId="385"/>
            <ac:spMk id="36" creationId="{85521C35-6CE7-4ECC-8F11-10793F43E7FA}"/>
          </ac:spMkLst>
        </pc:spChg>
        <pc:spChg chg="mod">
          <ac:chgData name="Marc Feldkirchner" userId="c4135e70-53ec-4cd4-a1bd-4ca908459c8c" providerId="ADAL" clId="{7F9C2C8A-03C3-431A-BE04-83FBFEAB7D91}" dt="2022-02-25T12:20:56.006" v="525" actId="553"/>
          <ac:spMkLst>
            <pc:docMk/>
            <pc:sldMk cId="1769863677" sldId="385"/>
            <ac:spMk id="39" creationId="{D87F1C78-F62E-42EB-920E-50210B835B8C}"/>
          </ac:spMkLst>
        </pc:spChg>
        <pc:spChg chg="mod">
          <ac:chgData name="Marc Feldkirchner" userId="c4135e70-53ec-4cd4-a1bd-4ca908459c8c" providerId="ADAL" clId="{7F9C2C8A-03C3-431A-BE04-83FBFEAB7D91}" dt="2022-02-25T12:20:56.006" v="525" actId="553"/>
          <ac:spMkLst>
            <pc:docMk/>
            <pc:sldMk cId="1769863677" sldId="385"/>
            <ac:spMk id="40" creationId="{E96176A8-49A1-4A98-B344-E18E879717A3}"/>
          </ac:spMkLst>
        </pc:spChg>
        <pc:spChg chg="del">
          <ac:chgData name="Marc Feldkirchner" userId="c4135e70-53ec-4cd4-a1bd-4ca908459c8c" providerId="ADAL" clId="{7F9C2C8A-03C3-431A-BE04-83FBFEAB7D91}" dt="2022-02-25T12:08:03.283" v="490" actId="478"/>
          <ac:spMkLst>
            <pc:docMk/>
            <pc:sldMk cId="1769863677" sldId="385"/>
            <ac:spMk id="41" creationId="{D8351968-52D9-4CF5-B1B9-1E5F16DAD8A2}"/>
          </ac:spMkLst>
        </pc:spChg>
        <pc:spChg chg="del">
          <ac:chgData name="Marc Feldkirchner" userId="c4135e70-53ec-4cd4-a1bd-4ca908459c8c" providerId="ADAL" clId="{7F9C2C8A-03C3-431A-BE04-83FBFEAB7D91}" dt="2022-02-25T12:08:03.283" v="490" actId="478"/>
          <ac:spMkLst>
            <pc:docMk/>
            <pc:sldMk cId="1769863677" sldId="385"/>
            <ac:spMk id="42" creationId="{D9A06F0E-91F5-433D-84E1-E2ADFB411A12}"/>
          </ac:spMkLst>
        </pc:spChg>
        <pc:spChg chg="mod">
          <ac:chgData name="Marc Feldkirchner" userId="c4135e70-53ec-4cd4-a1bd-4ca908459c8c" providerId="ADAL" clId="{7F9C2C8A-03C3-431A-BE04-83FBFEAB7D91}" dt="2022-02-25T12:19:19.343" v="513" actId="20577"/>
          <ac:spMkLst>
            <pc:docMk/>
            <pc:sldMk cId="1769863677" sldId="385"/>
            <ac:spMk id="45" creationId="{0B1198CB-D12B-421A-93D0-8C56312E30F4}"/>
          </ac:spMkLst>
        </pc:spChg>
        <pc:spChg chg="mod">
          <ac:chgData name="Marc Feldkirchner" userId="c4135e70-53ec-4cd4-a1bd-4ca908459c8c" providerId="ADAL" clId="{7F9C2C8A-03C3-431A-BE04-83FBFEAB7D91}" dt="2022-02-25T12:21:00.495" v="531" actId="5793"/>
          <ac:spMkLst>
            <pc:docMk/>
            <pc:sldMk cId="1769863677" sldId="385"/>
            <ac:spMk id="179" creationId="{BA596FC9-79E8-4C8F-B716-4B680640466C}"/>
          </ac:spMkLst>
        </pc:spChg>
        <pc:spChg chg="mod">
          <ac:chgData name="Marc Feldkirchner" userId="c4135e70-53ec-4cd4-a1bd-4ca908459c8c" providerId="ADAL" clId="{7F9C2C8A-03C3-431A-BE04-83FBFEAB7D91}" dt="2022-02-25T12:21:09.062" v="549" actId="5793"/>
          <ac:spMkLst>
            <pc:docMk/>
            <pc:sldMk cId="1769863677" sldId="385"/>
            <ac:spMk id="182" creationId="{BA714521-F0A9-44FA-B5A8-FD27D3EFC840}"/>
          </ac:spMkLst>
        </pc:spChg>
        <pc:spChg chg="mod">
          <ac:chgData name="Marc Feldkirchner" userId="c4135e70-53ec-4cd4-a1bd-4ca908459c8c" providerId="ADAL" clId="{7F9C2C8A-03C3-431A-BE04-83FBFEAB7D91}" dt="2022-02-25T12:20:49.502" v="524" actId="553"/>
          <ac:spMkLst>
            <pc:docMk/>
            <pc:sldMk cId="1769863677" sldId="385"/>
            <ac:spMk id="184" creationId="{F57A899F-DDD4-49AB-B9FC-0358D18E82DF}"/>
          </ac:spMkLst>
        </pc:spChg>
        <pc:spChg chg="mod">
          <ac:chgData name="Marc Feldkirchner" userId="c4135e70-53ec-4cd4-a1bd-4ca908459c8c" providerId="ADAL" clId="{7F9C2C8A-03C3-431A-BE04-83FBFEAB7D91}" dt="2022-02-25T12:21:19.294" v="573" actId="5793"/>
          <ac:spMkLst>
            <pc:docMk/>
            <pc:sldMk cId="1769863677" sldId="385"/>
            <ac:spMk id="185" creationId="{1136CD69-C074-465E-B9C4-D5F64CE0B09B}"/>
          </ac:spMkLst>
        </pc:spChg>
        <pc:spChg chg="del">
          <ac:chgData name="Marc Feldkirchner" userId="c4135e70-53ec-4cd4-a1bd-4ca908459c8c" providerId="ADAL" clId="{7F9C2C8A-03C3-431A-BE04-83FBFEAB7D91}" dt="2022-02-25T12:08:03.283" v="490" actId="478"/>
          <ac:spMkLst>
            <pc:docMk/>
            <pc:sldMk cId="1769863677" sldId="385"/>
            <ac:spMk id="187" creationId="{9D006762-F0F3-4076-BE97-6124B4FABEA5}"/>
          </ac:spMkLst>
        </pc:spChg>
        <pc:spChg chg="del">
          <ac:chgData name="Marc Feldkirchner" userId="c4135e70-53ec-4cd4-a1bd-4ca908459c8c" providerId="ADAL" clId="{7F9C2C8A-03C3-431A-BE04-83FBFEAB7D91}" dt="2022-02-25T12:08:03.283" v="490" actId="478"/>
          <ac:spMkLst>
            <pc:docMk/>
            <pc:sldMk cId="1769863677" sldId="385"/>
            <ac:spMk id="188" creationId="{0100F361-9136-43CC-9E16-CF4F0116BC89}"/>
          </ac:spMkLst>
        </pc:spChg>
        <pc:spChg chg="mod">
          <ac:chgData name="Marc Feldkirchner" userId="c4135e70-53ec-4cd4-a1bd-4ca908459c8c" providerId="ADAL" clId="{7F9C2C8A-03C3-431A-BE04-83FBFEAB7D91}" dt="2022-02-25T12:20:49.502" v="524" actId="553"/>
          <ac:spMkLst>
            <pc:docMk/>
            <pc:sldMk cId="1769863677" sldId="385"/>
            <ac:spMk id="190" creationId="{6F267383-00ED-4749-BF8E-39A206F44ECD}"/>
          </ac:spMkLst>
        </pc:spChg>
        <pc:spChg chg="mod">
          <ac:chgData name="Marc Feldkirchner" userId="c4135e70-53ec-4cd4-a1bd-4ca908459c8c" providerId="ADAL" clId="{7F9C2C8A-03C3-431A-BE04-83FBFEAB7D91}" dt="2022-02-25T12:21:12.571" v="555" actId="5793"/>
          <ac:spMkLst>
            <pc:docMk/>
            <pc:sldMk cId="1769863677" sldId="385"/>
            <ac:spMk id="191" creationId="{7ECDB696-7E06-4989-9BAE-8071ABC83A16}"/>
          </ac:spMkLst>
        </pc:spChg>
        <pc:spChg chg="del">
          <ac:chgData name="Marc Feldkirchner" userId="c4135e70-53ec-4cd4-a1bd-4ca908459c8c" providerId="ADAL" clId="{7F9C2C8A-03C3-431A-BE04-83FBFEAB7D91}" dt="2022-02-25T12:08:03.283" v="490" actId="478"/>
          <ac:spMkLst>
            <pc:docMk/>
            <pc:sldMk cId="1769863677" sldId="385"/>
            <ac:spMk id="193" creationId="{4407F2A3-C74A-414D-8577-CB1F9BFBFCF1}"/>
          </ac:spMkLst>
        </pc:spChg>
        <pc:spChg chg="del">
          <ac:chgData name="Marc Feldkirchner" userId="c4135e70-53ec-4cd4-a1bd-4ca908459c8c" providerId="ADAL" clId="{7F9C2C8A-03C3-431A-BE04-83FBFEAB7D91}" dt="2022-02-25T12:08:03.283" v="490" actId="478"/>
          <ac:spMkLst>
            <pc:docMk/>
            <pc:sldMk cId="1769863677" sldId="385"/>
            <ac:spMk id="194" creationId="{8BA74258-D9BE-4090-AFA9-5A9656D0DD6E}"/>
          </ac:spMkLst>
        </pc:spChg>
        <pc:spChg chg="mod">
          <ac:chgData name="Marc Feldkirchner" userId="c4135e70-53ec-4cd4-a1bd-4ca908459c8c" providerId="ADAL" clId="{7F9C2C8A-03C3-431A-BE04-83FBFEAB7D91}" dt="2022-02-25T12:21:03.480" v="537" actId="5793"/>
          <ac:spMkLst>
            <pc:docMk/>
            <pc:sldMk cId="1769863677" sldId="385"/>
            <ac:spMk id="197" creationId="{85D1901C-874E-4D64-B494-BF73E5D9949F}"/>
          </ac:spMkLst>
        </pc:spChg>
        <pc:spChg chg="mod">
          <ac:chgData name="Marc Feldkirchner" userId="c4135e70-53ec-4cd4-a1bd-4ca908459c8c" providerId="ADAL" clId="{7F9C2C8A-03C3-431A-BE04-83FBFEAB7D91}" dt="2022-02-25T12:21:06.139" v="543" actId="5793"/>
          <ac:spMkLst>
            <pc:docMk/>
            <pc:sldMk cId="1769863677" sldId="385"/>
            <ac:spMk id="200" creationId="{E72D0F0E-AAD2-486F-8138-31245D0542B4}"/>
          </ac:spMkLst>
        </pc:spChg>
        <pc:spChg chg="mod">
          <ac:chgData name="Marc Feldkirchner" userId="c4135e70-53ec-4cd4-a1bd-4ca908459c8c" providerId="ADAL" clId="{7F9C2C8A-03C3-431A-BE04-83FBFEAB7D91}" dt="2022-02-25T12:20:49.502" v="524" actId="553"/>
          <ac:spMkLst>
            <pc:docMk/>
            <pc:sldMk cId="1769863677" sldId="385"/>
            <ac:spMk id="202" creationId="{F69CD99C-670E-4658-B02C-1E7E62DDFD77}"/>
          </ac:spMkLst>
        </pc:spChg>
        <pc:spChg chg="mod">
          <ac:chgData name="Marc Feldkirchner" userId="c4135e70-53ec-4cd4-a1bd-4ca908459c8c" providerId="ADAL" clId="{7F9C2C8A-03C3-431A-BE04-83FBFEAB7D91}" dt="2022-02-25T12:21:14.960" v="561" actId="5793"/>
          <ac:spMkLst>
            <pc:docMk/>
            <pc:sldMk cId="1769863677" sldId="385"/>
            <ac:spMk id="203" creationId="{759F80D8-6C58-4E1A-B555-224CA4CA6B5B}"/>
          </ac:spMkLst>
        </pc:spChg>
        <pc:spChg chg="mod">
          <ac:chgData name="Marc Feldkirchner" userId="c4135e70-53ec-4cd4-a1bd-4ca908459c8c" providerId="ADAL" clId="{7F9C2C8A-03C3-431A-BE04-83FBFEAB7D91}" dt="2022-02-25T12:20:49.502" v="524" actId="553"/>
          <ac:spMkLst>
            <pc:docMk/>
            <pc:sldMk cId="1769863677" sldId="385"/>
            <ac:spMk id="205" creationId="{AAD21B5D-A139-4009-AB75-BA9E4F6C4C10}"/>
          </ac:spMkLst>
        </pc:spChg>
        <pc:spChg chg="mod">
          <ac:chgData name="Marc Feldkirchner" userId="c4135e70-53ec-4cd4-a1bd-4ca908459c8c" providerId="ADAL" clId="{7F9C2C8A-03C3-431A-BE04-83FBFEAB7D91}" dt="2022-02-25T12:21:17.314" v="567" actId="5793"/>
          <ac:spMkLst>
            <pc:docMk/>
            <pc:sldMk cId="1769863677" sldId="385"/>
            <ac:spMk id="206" creationId="{15F811F0-37F3-4874-9FC1-865B6871A749}"/>
          </ac:spMkLst>
        </pc:spChg>
        <pc:spChg chg="del">
          <ac:chgData name="Marc Feldkirchner" userId="c4135e70-53ec-4cd4-a1bd-4ca908459c8c" providerId="ADAL" clId="{7F9C2C8A-03C3-431A-BE04-83FBFEAB7D91}" dt="2022-02-25T12:08:03.283" v="490" actId="478"/>
          <ac:spMkLst>
            <pc:docMk/>
            <pc:sldMk cId="1769863677" sldId="385"/>
            <ac:spMk id="208" creationId="{5FC69E20-5CF8-414D-9D04-0FC1C0A0438F}"/>
          </ac:spMkLst>
        </pc:spChg>
        <pc:spChg chg="del">
          <ac:chgData name="Marc Feldkirchner" userId="c4135e70-53ec-4cd4-a1bd-4ca908459c8c" providerId="ADAL" clId="{7F9C2C8A-03C3-431A-BE04-83FBFEAB7D91}" dt="2022-02-25T12:08:03.283" v="490" actId="478"/>
          <ac:spMkLst>
            <pc:docMk/>
            <pc:sldMk cId="1769863677" sldId="385"/>
            <ac:spMk id="209" creationId="{0DF32D69-996A-4E30-8B25-8743FD9921FC}"/>
          </ac:spMkLst>
        </pc:spChg>
        <pc:spChg chg="del">
          <ac:chgData name="Marc Feldkirchner" userId="c4135e70-53ec-4cd4-a1bd-4ca908459c8c" providerId="ADAL" clId="{7F9C2C8A-03C3-431A-BE04-83FBFEAB7D91}" dt="2022-02-25T12:08:03.283" v="490" actId="478"/>
          <ac:spMkLst>
            <pc:docMk/>
            <pc:sldMk cId="1769863677" sldId="385"/>
            <ac:spMk id="211" creationId="{D7D67B0B-1B2A-47EF-B324-2111E1A3897F}"/>
          </ac:spMkLst>
        </pc:spChg>
        <pc:spChg chg="del">
          <ac:chgData name="Marc Feldkirchner" userId="c4135e70-53ec-4cd4-a1bd-4ca908459c8c" providerId="ADAL" clId="{7F9C2C8A-03C3-431A-BE04-83FBFEAB7D91}" dt="2022-02-25T12:08:03.283" v="490" actId="478"/>
          <ac:spMkLst>
            <pc:docMk/>
            <pc:sldMk cId="1769863677" sldId="385"/>
            <ac:spMk id="212" creationId="{FD55FBBA-F3B3-4550-A4BA-838F44C7EDF0}"/>
          </ac:spMkLst>
        </pc:spChg>
      </pc:sldChg>
      <pc:sldChg chg="add del">
        <pc:chgData name="Marc Feldkirchner" userId="c4135e70-53ec-4cd4-a1bd-4ca908459c8c" providerId="ADAL" clId="{7F9C2C8A-03C3-431A-BE04-83FBFEAB7D91}" dt="2022-02-25T11:58:45.193" v="332" actId="47"/>
        <pc:sldMkLst>
          <pc:docMk/>
          <pc:sldMk cId="2913147444" sldId="385"/>
        </pc:sldMkLst>
      </pc:sldChg>
      <pc:sldChg chg="addSp delSp modSp new mod modClrScheme chgLayout">
        <pc:chgData name="Marc Feldkirchner" userId="c4135e70-53ec-4cd4-a1bd-4ca908459c8c" providerId="ADAL" clId="{7F9C2C8A-03C3-431A-BE04-83FBFEAB7D91}" dt="2022-03-10T22:29:32.048" v="1428" actId="242"/>
        <pc:sldMkLst>
          <pc:docMk/>
          <pc:sldMk cId="904502109" sldId="386"/>
        </pc:sldMkLst>
        <pc:spChg chg="del mod ord">
          <ac:chgData name="Marc Feldkirchner" userId="c4135e70-53ec-4cd4-a1bd-4ca908459c8c" providerId="ADAL" clId="{7F9C2C8A-03C3-431A-BE04-83FBFEAB7D91}" dt="2022-03-10T22:16:49.116" v="1221" actId="700"/>
          <ac:spMkLst>
            <pc:docMk/>
            <pc:sldMk cId="904502109" sldId="386"/>
            <ac:spMk id="2" creationId="{57FACB2D-69B0-4C8B-89EA-6C9259B2DDC6}"/>
          </ac:spMkLst>
        </pc:spChg>
        <pc:spChg chg="mod ord">
          <ac:chgData name="Marc Feldkirchner" userId="c4135e70-53ec-4cd4-a1bd-4ca908459c8c" providerId="ADAL" clId="{7F9C2C8A-03C3-431A-BE04-83FBFEAB7D91}" dt="2022-03-10T22:16:49.116" v="1221" actId="700"/>
          <ac:spMkLst>
            <pc:docMk/>
            <pc:sldMk cId="904502109" sldId="386"/>
            <ac:spMk id="3" creationId="{8D1B346C-11BD-4498-9FBF-C88399F9AA81}"/>
          </ac:spMkLst>
        </pc:spChg>
        <pc:spChg chg="del">
          <ac:chgData name="Marc Feldkirchner" userId="c4135e70-53ec-4cd4-a1bd-4ca908459c8c" providerId="ADAL" clId="{7F9C2C8A-03C3-431A-BE04-83FBFEAB7D91}" dt="2022-03-10T22:16:49.116" v="1221" actId="700"/>
          <ac:spMkLst>
            <pc:docMk/>
            <pc:sldMk cId="904502109" sldId="386"/>
            <ac:spMk id="4" creationId="{427E0115-1015-4AE2-AC78-D930C0148FFE}"/>
          </ac:spMkLst>
        </pc:spChg>
        <pc:spChg chg="del mod ord">
          <ac:chgData name="Marc Feldkirchner" userId="c4135e70-53ec-4cd4-a1bd-4ca908459c8c" providerId="ADAL" clId="{7F9C2C8A-03C3-431A-BE04-83FBFEAB7D91}" dt="2022-03-10T22:16:49.116" v="1221" actId="700"/>
          <ac:spMkLst>
            <pc:docMk/>
            <pc:sldMk cId="904502109" sldId="386"/>
            <ac:spMk id="5" creationId="{0FC7A60A-886B-4665-8E9C-B9987AF0F439}"/>
          </ac:spMkLst>
        </pc:spChg>
        <pc:spChg chg="del mod ord">
          <ac:chgData name="Marc Feldkirchner" userId="c4135e70-53ec-4cd4-a1bd-4ca908459c8c" providerId="ADAL" clId="{7F9C2C8A-03C3-431A-BE04-83FBFEAB7D91}" dt="2022-03-10T22:16:49.116" v="1221" actId="700"/>
          <ac:spMkLst>
            <pc:docMk/>
            <pc:sldMk cId="904502109" sldId="386"/>
            <ac:spMk id="6" creationId="{F1DE3ACB-6D81-4300-A8B6-6EBF60BD8BA9}"/>
          </ac:spMkLst>
        </pc:spChg>
        <pc:spChg chg="del">
          <ac:chgData name="Marc Feldkirchner" userId="c4135e70-53ec-4cd4-a1bd-4ca908459c8c" providerId="ADAL" clId="{7F9C2C8A-03C3-431A-BE04-83FBFEAB7D91}" dt="2022-03-10T22:16:49.116" v="1221" actId="700"/>
          <ac:spMkLst>
            <pc:docMk/>
            <pc:sldMk cId="904502109" sldId="386"/>
            <ac:spMk id="7" creationId="{688F6370-0475-4F35-9B1E-78CAE3AC83AB}"/>
          </ac:spMkLst>
        </pc:spChg>
        <pc:spChg chg="add mod ord">
          <ac:chgData name="Marc Feldkirchner" userId="c4135e70-53ec-4cd4-a1bd-4ca908459c8c" providerId="ADAL" clId="{7F9C2C8A-03C3-431A-BE04-83FBFEAB7D91}" dt="2022-03-10T22:16:49.116" v="1221" actId="700"/>
          <ac:spMkLst>
            <pc:docMk/>
            <pc:sldMk cId="904502109" sldId="386"/>
            <ac:spMk id="8" creationId="{DC8EB20D-6664-4CDA-BF8B-636E085332AA}"/>
          </ac:spMkLst>
        </pc:spChg>
        <pc:spChg chg="add mod ord">
          <ac:chgData name="Marc Feldkirchner" userId="c4135e70-53ec-4cd4-a1bd-4ca908459c8c" providerId="ADAL" clId="{7F9C2C8A-03C3-431A-BE04-83FBFEAB7D91}" dt="2022-03-10T22:16:49.116" v="1221" actId="700"/>
          <ac:spMkLst>
            <pc:docMk/>
            <pc:sldMk cId="904502109" sldId="386"/>
            <ac:spMk id="9" creationId="{154405F3-D143-468F-8659-D78DD046B61A}"/>
          </ac:spMkLst>
        </pc:spChg>
        <pc:spChg chg="add del mod ord">
          <ac:chgData name="Marc Feldkirchner" userId="c4135e70-53ec-4cd4-a1bd-4ca908459c8c" providerId="ADAL" clId="{7F9C2C8A-03C3-431A-BE04-83FBFEAB7D91}" dt="2022-03-10T22:16:51.141" v="1222" actId="478"/>
          <ac:spMkLst>
            <pc:docMk/>
            <pc:sldMk cId="904502109" sldId="386"/>
            <ac:spMk id="10" creationId="{53D310E3-11B9-4CDC-8AAE-637AE26A948E}"/>
          </ac:spMkLst>
        </pc:spChg>
        <pc:spChg chg="add mod">
          <ac:chgData name="Marc Feldkirchner" userId="c4135e70-53ec-4cd4-a1bd-4ca908459c8c" providerId="ADAL" clId="{7F9C2C8A-03C3-431A-BE04-83FBFEAB7D91}" dt="2022-03-10T22:28:45.281" v="1412" actId="113"/>
          <ac:spMkLst>
            <pc:docMk/>
            <pc:sldMk cId="904502109" sldId="386"/>
            <ac:spMk id="11" creationId="{334ACC97-AD98-4E80-8406-035418B360B1}"/>
          </ac:spMkLst>
        </pc:spChg>
        <pc:spChg chg="add del mod">
          <ac:chgData name="Marc Feldkirchner" userId="c4135e70-53ec-4cd4-a1bd-4ca908459c8c" providerId="ADAL" clId="{7F9C2C8A-03C3-431A-BE04-83FBFEAB7D91}" dt="2022-03-10T22:19:23.920" v="1248" actId="478"/>
          <ac:spMkLst>
            <pc:docMk/>
            <pc:sldMk cId="904502109" sldId="386"/>
            <ac:spMk id="12" creationId="{0651DE1C-3674-40BB-A138-CEA809B4765C}"/>
          </ac:spMkLst>
        </pc:spChg>
        <pc:spChg chg="add del mod">
          <ac:chgData name="Marc Feldkirchner" userId="c4135e70-53ec-4cd4-a1bd-4ca908459c8c" providerId="ADAL" clId="{7F9C2C8A-03C3-431A-BE04-83FBFEAB7D91}" dt="2022-03-10T22:19:23.920" v="1248" actId="478"/>
          <ac:spMkLst>
            <pc:docMk/>
            <pc:sldMk cId="904502109" sldId="386"/>
            <ac:spMk id="13" creationId="{D117EB88-056C-4629-ADC5-AE7CD92608F3}"/>
          </ac:spMkLst>
        </pc:spChg>
        <pc:spChg chg="add del mod">
          <ac:chgData name="Marc Feldkirchner" userId="c4135e70-53ec-4cd4-a1bd-4ca908459c8c" providerId="ADAL" clId="{7F9C2C8A-03C3-431A-BE04-83FBFEAB7D91}" dt="2022-03-10T22:19:23.920" v="1248" actId="478"/>
          <ac:spMkLst>
            <pc:docMk/>
            <pc:sldMk cId="904502109" sldId="386"/>
            <ac:spMk id="14" creationId="{B8E9A0AD-2C3C-4237-B1A1-37EE25B166E4}"/>
          </ac:spMkLst>
        </pc:spChg>
        <pc:spChg chg="add mod ord">
          <ac:chgData name="Marc Feldkirchner" userId="c4135e70-53ec-4cd4-a1bd-4ca908459c8c" providerId="ADAL" clId="{7F9C2C8A-03C3-431A-BE04-83FBFEAB7D91}" dt="2022-03-10T22:20:23.780" v="1256" actId="166"/>
          <ac:spMkLst>
            <pc:docMk/>
            <pc:sldMk cId="904502109" sldId="386"/>
            <ac:spMk id="15" creationId="{5A96C7BB-7385-48C7-B71F-E8E22481F9F8}"/>
          </ac:spMkLst>
        </pc:spChg>
        <pc:spChg chg="add mod">
          <ac:chgData name="Marc Feldkirchner" userId="c4135e70-53ec-4cd4-a1bd-4ca908459c8c" providerId="ADAL" clId="{7F9C2C8A-03C3-431A-BE04-83FBFEAB7D91}" dt="2022-03-10T22:29:22.415" v="1426" actId="121"/>
          <ac:spMkLst>
            <pc:docMk/>
            <pc:sldMk cId="904502109" sldId="386"/>
            <ac:spMk id="16" creationId="{2F0FF85A-C9FA-43DF-8619-29F764465CCB}"/>
          </ac:spMkLst>
        </pc:spChg>
        <pc:spChg chg="add mod">
          <ac:chgData name="Marc Feldkirchner" userId="c4135e70-53ec-4cd4-a1bd-4ca908459c8c" providerId="ADAL" clId="{7F9C2C8A-03C3-431A-BE04-83FBFEAB7D91}" dt="2022-03-10T22:29:32.048" v="1428" actId="242"/>
          <ac:spMkLst>
            <pc:docMk/>
            <pc:sldMk cId="904502109" sldId="386"/>
            <ac:spMk id="17" creationId="{32B316EB-B7BF-4EDE-8EB0-4D1D9529AB28}"/>
          </ac:spMkLst>
        </pc:spChg>
        <pc:spChg chg="add mod">
          <ac:chgData name="Marc Feldkirchner" userId="c4135e70-53ec-4cd4-a1bd-4ca908459c8c" providerId="ADAL" clId="{7F9C2C8A-03C3-431A-BE04-83FBFEAB7D91}" dt="2022-03-10T22:29:32.048" v="1428" actId="242"/>
          <ac:spMkLst>
            <pc:docMk/>
            <pc:sldMk cId="904502109" sldId="386"/>
            <ac:spMk id="18" creationId="{0280D26E-1EEC-49B1-9E80-A33E530FAC94}"/>
          </ac:spMkLst>
        </pc:spChg>
        <pc:spChg chg="add mod">
          <ac:chgData name="Marc Feldkirchner" userId="c4135e70-53ec-4cd4-a1bd-4ca908459c8c" providerId="ADAL" clId="{7F9C2C8A-03C3-431A-BE04-83FBFEAB7D91}" dt="2022-03-10T22:27:16.339" v="1400" actId="113"/>
          <ac:spMkLst>
            <pc:docMk/>
            <pc:sldMk cId="904502109" sldId="386"/>
            <ac:spMk id="28" creationId="{32A1994B-348B-4C6A-9E5E-EF9F7DA4CAB0}"/>
          </ac:spMkLst>
        </pc:spChg>
        <pc:spChg chg="add mod">
          <ac:chgData name="Marc Feldkirchner" userId="c4135e70-53ec-4cd4-a1bd-4ca908459c8c" providerId="ADAL" clId="{7F9C2C8A-03C3-431A-BE04-83FBFEAB7D91}" dt="2022-03-10T22:27:15.954" v="1399" actId="113"/>
          <ac:spMkLst>
            <pc:docMk/>
            <pc:sldMk cId="904502109" sldId="386"/>
            <ac:spMk id="29" creationId="{6135C559-7193-42E0-A9F7-658CF49ABEC5}"/>
          </ac:spMkLst>
        </pc:spChg>
        <pc:spChg chg="add mod">
          <ac:chgData name="Marc Feldkirchner" userId="c4135e70-53ec-4cd4-a1bd-4ca908459c8c" providerId="ADAL" clId="{7F9C2C8A-03C3-431A-BE04-83FBFEAB7D91}" dt="2022-03-10T22:27:15.042" v="1397" actId="113"/>
          <ac:spMkLst>
            <pc:docMk/>
            <pc:sldMk cId="904502109" sldId="386"/>
            <ac:spMk id="30" creationId="{86553C97-1A86-41C5-9F75-3AA1966D0C8A}"/>
          </ac:spMkLst>
        </pc:spChg>
        <pc:spChg chg="add mod">
          <ac:chgData name="Marc Feldkirchner" userId="c4135e70-53ec-4cd4-a1bd-4ca908459c8c" providerId="ADAL" clId="{7F9C2C8A-03C3-431A-BE04-83FBFEAB7D91}" dt="2022-03-10T22:27:15.391" v="1398" actId="113"/>
          <ac:spMkLst>
            <pc:docMk/>
            <pc:sldMk cId="904502109" sldId="386"/>
            <ac:spMk id="31" creationId="{1476FC46-5407-4B82-9B4F-655F55D8B3D7}"/>
          </ac:spMkLst>
        </pc:spChg>
        <pc:spChg chg="add mod ord">
          <ac:chgData name="Marc Feldkirchner" userId="c4135e70-53ec-4cd4-a1bd-4ca908459c8c" providerId="ADAL" clId="{7F9C2C8A-03C3-431A-BE04-83FBFEAB7D91}" dt="2022-03-10T22:27:36.292" v="1402" actId="1582"/>
          <ac:spMkLst>
            <pc:docMk/>
            <pc:sldMk cId="904502109" sldId="386"/>
            <ac:spMk id="32" creationId="{314C9239-B92F-46F3-BE6B-B8BB9CE763DF}"/>
          </ac:spMkLst>
        </pc:spChg>
        <pc:cxnChg chg="add mod">
          <ac:chgData name="Marc Feldkirchner" userId="c4135e70-53ec-4cd4-a1bd-4ca908459c8c" providerId="ADAL" clId="{7F9C2C8A-03C3-431A-BE04-83FBFEAB7D91}" dt="2022-03-10T22:27:25.305" v="1401" actId="1582"/>
          <ac:cxnSpMkLst>
            <pc:docMk/>
            <pc:sldMk cId="904502109" sldId="386"/>
            <ac:cxnSpMk id="20" creationId="{58C90E7C-E027-4CDC-BDAF-88986B36AC9C}"/>
          </ac:cxnSpMkLst>
        </pc:cxnChg>
        <pc:cxnChg chg="add mod">
          <ac:chgData name="Marc Feldkirchner" userId="c4135e70-53ec-4cd4-a1bd-4ca908459c8c" providerId="ADAL" clId="{7F9C2C8A-03C3-431A-BE04-83FBFEAB7D91}" dt="2022-03-10T22:27:25.305" v="1401" actId="1582"/>
          <ac:cxnSpMkLst>
            <pc:docMk/>
            <pc:sldMk cId="904502109" sldId="386"/>
            <ac:cxnSpMk id="23" creationId="{497782F6-A9C1-4406-9F41-925F871E3A58}"/>
          </ac:cxnSpMkLst>
        </pc:cxnChg>
      </pc:sldChg>
      <pc:sldChg chg="addSp delSp modSp add mod">
        <pc:chgData name="Marc Feldkirchner" userId="c4135e70-53ec-4cd4-a1bd-4ca908459c8c" providerId="ADAL" clId="{7F9C2C8A-03C3-431A-BE04-83FBFEAB7D91}" dt="2022-03-10T22:42:37.128" v="1556" actId="242"/>
        <pc:sldMkLst>
          <pc:docMk/>
          <pc:sldMk cId="1181553170" sldId="387"/>
        </pc:sldMkLst>
        <pc:spChg chg="add del mod">
          <ac:chgData name="Marc Feldkirchner" userId="c4135e70-53ec-4cd4-a1bd-4ca908459c8c" providerId="ADAL" clId="{7F9C2C8A-03C3-431A-BE04-83FBFEAB7D91}" dt="2022-03-10T22:32:10.369" v="1457" actId="478"/>
          <ac:spMkLst>
            <pc:docMk/>
            <pc:sldMk cId="1181553170" sldId="387"/>
            <ac:spMk id="2" creationId="{576F2CA7-A9EB-48B7-B3BD-6CA89CE4038E}"/>
          </ac:spMkLst>
        </pc:spChg>
        <pc:spChg chg="add mod">
          <ac:chgData name="Marc Feldkirchner" userId="c4135e70-53ec-4cd4-a1bd-4ca908459c8c" providerId="ADAL" clId="{7F9C2C8A-03C3-431A-BE04-83FBFEAB7D91}" dt="2022-03-10T22:39:41.161" v="1538" actId="207"/>
          <ac:spMkLst>
            <pc:docMk/>
            <pc:sldMk cId="1181553170" sldId="387"/>
            <ac:spMk id="4" creationId="{E90A3426-F52D-4252-AD3A-82D5539816D5}"/>
          </ac:spMkLst>
        </pc:spChg>
        <pc:spChg chg="add del mod">
          <ac:chgData name="Marc Feldkirchner" userId="c4135e70-53ec-4cd4-a1bd-4ca908459c8c" providerId="ADAL" clId="{7F9C2C8A-03C3-431A-BE04-83FBFEAB7D91}" dt="2022-03-10T22:41:39.888" v="1544" actId="478"/>
          <ac:spMkLst>
            <pc:docMk/>
            <pc:sldMk cId="1181553170" sldId="387"/>
            <ac:spMk id="5" creationId="{DC913BB7-51AD-4B7C-98A3-3ECDC7FF022A}"/>
          </ac:spMkLst>
        </pc:spChg>
        <pc:spChg chg="mod">
          <ac:chgData name="Marc Feldkirchner" userId="c4135e70-53ec-4cd4-a1bd-4ca908459c8c" providerId="ADAL" clId="{7F9C2C8A-03C3-431A-BE04-83FBFEAB7D91}" dt="2022-03-10T22:42:20.163" v="1552" actId="20577"/>
          <ac:spMkLst>
            <pc:docMk/>
            <pc:sldMk cId="1181553170" sldId="387"/>
            <ac:spMk id="11" creationId="{334ACC97-AD98-4E80-8406-035418B360B1}"/>
          </ac:spMkLst>
        </pc:spChg>
        <pc:spChg chg="del">
          <ac:chgData name="Marc Feldkirchner" userId="c4135e70-53ec-4cd4-a1bd-4ca908459c8c" providerId="ADAL" clId="{7F9C2C8A-03C3-431A-BE04-83FBFEAB7D91}" dt="2022-03-10T22:30:05.443" v="1437" actId="478"/>
          <ac:spMkLst>
            <pc:docMk/>
            <pc:sldMk cId="1181553170" sldId="387"/>
            <ac:spMk id="15" creationId="{5A96C7BB-7385-48C7-B71F-E8E22481F9F8}"/>
          </ac:spMkLst>
        </pc:spChg>
        <pc:spChg chg="mod">
          <ac:chgData name="Marc Feldkirchner" userId="c4135e70-53ec-4cd4-a1bd-4ca908459c8c" providerId="ADAL" clId="{7F9C2C8A-03C3-431A-BE04-83FBFEAB7D91}" dt="2022-03-10T22:42:32.007" v="1553"/>
          <ac:spMkLst>
            <pc:docMk/>
            <pc:sldMk cId="1181553170" sldId="387"/>
            <ac:spMk id="16" creationId="{2F0FF85A-C9FA-43DF-8619-29F764465CCB}"/>
          </ac:spMkLst>
        </pc:spChg>
        <pc:spChg chg="mod">
          <ac:chgData name="Marc Feldkirchner" userId="c4135e70-53ec-4cd4-a1bd-4ca908459c8c" providerId="ADAL" clId="{7F9C2C8A-03C3-431A-BE04-83FBFEAB7D91}" dt="2022-03-10T22:42:37.128" v="1556" actId="242"/>
          <ac:spMkLst>
            <pc:docMk/>
            <pc:sldMk cId="1181553170" sldId="387"/>
            <ac:spMk id="17" creationId="{32B316EB-B7BF-4EDE-8EB0-4D1D9529AB28}"/>
          </ac:spMkLst>
        </pc:spChg>
        <pc:spChg chg="mod">
          <ac:chgData name="Marc Feldkirchner" userId="c4135e70-53ec-4cd4-a1bd-4ca908459c8c" providerId="ADAL" clId="{7F9C2C8A-03C3-431A-BE04-83FBFEAB7D91}" dt="2022-03-10T22:42:37.128" v="1556" actId="242"/>
          <ac:spMkLst>
            <pc:docMk/>
            <pc:sldMk cId="1181553170" sldId="387"/>
            <ac:spMk id="18" creationId="{0280D26E-1EEC-49B1-9E80-A33E530FAC94}"/>
          </ac:spMkLst>
        </pc:spChg>
        <pc:spChg chg="add del mod">
          <ac:chgData name="Marc Feldkirchner" userId="c4135e70-53ec-4cd4-a1bd-4ca908459c8c" providerId="ADAL" clId="{7F9C2C8A-03C3-431A-BE04-83FBFEAB7D91}" dt="2022-03-10T22:35:12.955" v="1477" actId="478"/>
          <ac:spMkLst>
            <pc:docMk/>
            <pc:sldMk cId="1181553170" sldId="387"/>
            <ac:spMk id="19" creationId="{4555D528-BE07-4985-9414-4EB813CBE16F}"/>
          </ac:spMkLst>
        </pc:spChg>
        <pc:spChg chg="add del mod">
          <ac:chgData name="Marc Feldkirchner" userId="c4135e70-53ec-4cd4-a1bd-4ca908459c8c" providerId="ADAL" clId="{7F9C2C8A-03C3-431A-BE04-83FBFEAB7D91}" dt="2022-03-10T22:36:27.142" v="1490" actId="478"/>
          <ac:spMkLst>
            <pc:docMk/>
            <pc:sldMk cId="1181553170" sldId="387"/>
            <ac:spMk id="21" creationId="{EA87BF25-9705-49F1-9DB3-8AB2D2D0A54A}"/>
          </ac:spMkLst>
        </pc:spChg>
        <pc:spChg chg="add del mod">
          <ac:chgData name="Marc Feldkirchner" userId="c4135e70-53ec-4cd4-a1bd-4ca908459c8c" providerId="ADAL" clId="{7F9C2C8A-03C3-431A-BE04-83FBFEAB7D91}" dt="2022-03-10T22:34:06.787" v="1474" actId="478"/>
          <ac:spMkLst>
            <pc:docMk/>
            <pc:sldMk cId="1181553170" sldId="387"/>
            <ac:spMk id="22" creationId="{30703BBF-FDE6-4841-8FD6-CF69A26B8B95}"/>
          </ac:spMkLst>
        </pc:spChg>
        <pc:spChg chg="add mod">
          <ac:chgData name="Marc Feldkirchner" userId="c4135e70-53ec-4cd4-a1bd-4ca908459c8c" providerId="ADAL" clId="{7F9C2C8A-03C3-431A-BE04-83FBFEAB7D91}" dt="2022-03-10T22:39:44.981" v="1540" actId="207"/>
          <ac:spMkLst>
            <pc:docMk/>
            <pc:sldMk cId="1181553170" sldId="387"/>
            <ac:spMk id="24" creationId="{8F0EC3A2-11A0-4ADD-B7F5-CD7DA6A0AD7A}"/>
          </ac:spMkLst>
        </pc:spChg>
        <pc:spChg chg="add mod">
          <ac:chgData name="Marc Feldkirchner" userId="c4135e70-53ec-4cd4-a1bd-4ca908459c8c" providerId="ADAL" clId="{7F9C2C8A-03C3-431A-BE04-83FBFEAB7D91}" dt="2022-03-10T22:39:43.163" v="1539" actId="207"/>
          <ac:spMkLst>
            <pc:docMk/>
            <pc:sldMk cId="1181553170" sldId="387"/>
            <ac:spMk id="25" creationId="{8758D3A5-7F31-4CE5-91D6-2C49A175E4BB}"/>
          </ac:spMkLst>
        </pc:spChg>
        <pc:spChg chg="del">
          <ac:chgData name="Marc Feldkirchner" userId="c4135e70-53ec-4cd4-a1bd-4ca908459c8c" providerId="ADAL" clId="{7F9C2C8A-03C3-431A-BE04-83FBFEAB7D91}" dt="2022-03-10T22:30:01.170" v="1434" actId="478"/>
          <ac:spMkLst>
            <pc:docMk/>
            <pc:sldMk cId="1181553170" sldId="387"/>
            <ac:spMk id="28" creationId="{32A1994B-348B-4C6A-9E5E-EF9F7DA4CAB0}"/>
          </ac:spMkLst>
        </pc:spChg>
        <pc:spChg chg="del">
          <ac:chgData name="Marc Feldkirchner" userId="c4135e70-53ec-4cd4-a1bd-4ca908459c8c" providerId="ADAL" clId="{7F9C2C8A-03C3-431A-BE04-83FBFEAB7D91}" dt="2022-03-10T22:30:04.763" v="1436" actId="478"/>
          <ac:spMkLst>
            <pc:docMk/>
            <pc:sldMk cId="1181553170" sldId="387"/>
            <ac:spMk id="29" creationId="{6135C559-7193-42E0-A9F7-658CF49ABEC5}"/>
          </ac:spMkLst>
        </pc:spChg>
        <pc:spChg chg="del">
          <ac:chgData name="Marc Feldkirchner" userId="c4135e70-53ec-4cd4-a1bd-4ca908459c8c" providerId="ADAL" clId="{7F9C2C8A-03C3-431A-BE04-83FBFEAB7D91}" dt="2022-03-10T22:30:07.699" v="1438" actId="478"/>
          <ac:spMkLst>
            <pc:docMk/>
            <pc:sldMk cId="1181553170" sldId="387"/>
            <ac:spMk id="30" creationId="{86553C97-1A86-41C5-9F75-3AA1966D0C8A}"/>
          </ac:spMkLst>
        </pc:spChg>
        <pc:spChg chg="del">
          <ac:chgData name="Marc Feldkirchner" userId="c4135e70-53ec-4cd4-a1bd-4ca908459c8c" providerId="ADAL" clId="{7F9C2C8A-03C3-431A-BE04-83FBFEAB7D91}" dt="2022-03-10T22:30:09.570" v="1439" actId="478"/>
          <ac:spMkLst>
            <pc:docMk/>
            <pc:sldMk cId="1181553170" sldId="387"/>
            <ac:spMk id="31" creationId="{1476FC46-5407-4B82-9B4F-655F55D8B3D7}"/>
          </ac:spMkLst>
        </pc:spChg>
        <pc:spChg chg="del">
          <ac:chgData name="Marc Feldkirchner" userId="c4135e70-53ec-4cd4-a1bd-4ca908459c8c" providerId="ADAL" clId="{7F9C2C8A-03C3-431A-BE04-83FBFEAB7D91}" dt="2022-03-10T22:30:02.235" v="1435" actId="478"/>
          <ac:spMkLst>
            <pc:docMk/>
            <pc:sldMk cId="1181553170" sldId="387"/>
            <ac:spMk id="32" creationId="{314C9239-B92F-46F3-BE6B-B8BB9CE763DF}"/>
          </ac:spMkLst>
        </pc:spChg>
        <pc:cxnChg chg="del">
          <ac:chgData name="Marc Feldkirchner" userId="c4135e70-53ec-4cd4-a1bd-4ca908459c8c" providerId="ADAL" clId="{7F9C2C8A-03C3-431A-BE04-83FBFEAB7D91}" dt="2022-03-10T22:30:11.473" v="1440" actId="478"/>
          <ac:cxnSpMkLst>
            <pc:docMk/>
            <pc:sldMk cId="1181553170" sldId="387"/>
            <ac:cxnSpMk id="20" creationId="{58C90E7C-E027-4CDC-BDAF-88986B36AC9C}"/>
          </ac:cxnSpMkLst>
        </pc:cxnChg>
        <pc:cxnChg chg="del">
          <ac:chgData name="Marc Feldkirchner" userId="c4135e70-53ec-4cd4-a1bd-4ca908459c8c" providerId="ADAL" clId="{7F9C2C8A-03C3-431A-BE04-83FBFEAB7D91}" dt="2022-03-10T22:30:12.276" v="1441" actId="478"/>
          <ac:cxnSpMkLst>
            <pc:docMk/>
            <pc:sldMk cId="1181553170" sldId="387"/>
            <ac:cxnSpMk id="23" creationId="{497782F6-A9C1-4406-9F41-925F871E3A58}"/>
          </ac:cxnSpMkLst>
        </pc:cxnChg>
      </pc:sldChg>
      <pc:sldChg chg="addSp delSp modSp new mod">
        <pc:chgData name="Marc Feldkirchner" userId="c4135e70-53ec-4cd4-a1bd-4ca908459c8c" providerId="ADAL" clId="{7F9C2C8A-03C3-431A-BE04-83FBFEAB7D91}" dt="2022-03-22T16:36:57.699" v="1927" actId="207"/>
        <pc:sldMkLst>
          <pc:docMk/>
          <pc:sldMk cId="2311678989" sldId="388"/>
        </pc:sldMkLst>
        <pc:spChg chg="add del">
          <ac:chgData name="Marc Feldkirchner" userId="c4135e70-53ec-4cd4-a1bd-4ca908459c8c" providerId="ADAL" clId="{7F9C2C8A-03C3-431A-BE04-83FBFEAB7D91}" dt="2022-03-10T22:51:46.653" v="1565" actId="478"/>
          <ac:spMkLst>
            <pc:docMk/>
            <pc:sldMk cId="2311678989" sldId="388"/>
            <ac:spMk id="5" creationId="{9E00F2EC-F3B9-4C4C-AA45-997C98A58BBA}"/>
          </ac:spMkLst>
        </pc:spChg>
        <pc:spChg chg="add del mod">
          <ac:chgData name="Marc Feldkirchner" userId="c4135e70-53ec-4cd4-a1bd-4ca908459c8c" providerId="ADAL" clId="{7F9C2C8A-03C3-431A-BE04-83FBFEAB7D91}" dt="2022-03-10T22:51:39.138" v="1561"/>
          <ac:spMkLst>
            <pc:docMk/>
            <pc:sldMk cId="2311678989" sldId="388"/>
            <ac:spMk id="6" creationId="{85548D3B-4E42-4B85-A859-774435A7287C}"/>
          </ac:spMkLst>
        </pc:spChg>
        <pc:spChg chg="add del mod">
          <ac:chgData name="Marc Feldkirchner" userId="c4135e70-53ec-4cd4-a1bd-4ca908459c8c" providerId="ADAL" clId="{7F9C2C8A-03C3-431A-BE04-83FBFEAB7D91}" dt="2022-03-10T22:51:39.138" v="1561"/>
          <ac:spMkLst>
            <pc:docMk/>
            <pc:sldMk cId="2311678989" sldId="388"/>
            <ac:spMk id="7" creationId="{2B47A0FC-4F0A-4A97-81B9-CC7C816B4CE4}"/>
          </ac:spMkLst>
        </pc:spChg>
        <pc:spChg chg="add del mod">
          <ac:chgData name="Marc Feldkirchner" userId="c4135e70-53ec-4cd4-a1bd-4ca908459c8c" providerId="ADAL" clId="{7F9C2C8A-03C3-431A-BE04-83FBFEAB7D91}" dt="2022-03-10T22:51:39.138" v="1561"/>
          <ac:spMkLst>
            <pc:docMk/>
            <pc:sldMk cId="2311678989" sldId="388"/>
            <ac:spMk id="8" creationId="{393459CB-B68A-4368-9AB5-E1FAB51FDB4C}"/>
          </ac:spMkLst>
        </pc:spChg>
        <pc:spChg chg="add del mod">
          <ac:chgData name="Marc Feldkirchner" userId="c4135e70-53ec-4cd4-a1bd-4ca908459c8c" providerId="ADAL" clId="{7F9C2C8A-03C3-431A-BE04-83FBFEAB7D91}" dt="2022-03-10T22:51:39.138" v="1561"/>
          <ac:spMkLst>
            <pc:docMk/>
            <pc:sldMk cId="2311678989" sldId="388"/>
            <ac:spMk id="9" creationId="{557525BD-3C4E-44E3-8768-0D272DA45042}"/>
          </ac:spMkLst>
        </pc:spChg>
        <pc:spChg chg="add del mod">
          <ac:chgData name="Marc Feldkirchner" userId="c4135e70-53ec-4cd4-a1bd-4ca908459c8c" providerId="ADAL" clId="{7F9C2C8A-03C3-431A-BE04-83FBFEAB7D91}" dt="2022-03-10T22:51:39.138" v="1561"/>
          <ac:spMkLst>
            <pc:docMk/>
            <pc:sldMk cId="2311678989" sldId="388"/>
            <ac:spMk id="10" creationId="{864F7831-1666-4703-8631-D9271BFF76F8}"/>
          </ac:spMkLst>
        </pc:spChg>
        <pc:spChg chg="add del mod">
          <ac:chgData name="Marc Feldkirchner" userId="c4135e70-53ec-4cd4-a1bd-4ca908459c8c" providerId="ADAL" clId="{7F9C2C8A-03C3-431A-BE04-83FBFEAB7D91}" dt="2022-03-10T22:51:39.138" v="1561"/>
          <ac:spMkLst>
            <pc:docMk/>
            <pc:sldMk cId="2311678989" sldId="388"/>
            <ac:spMk id="11" creationId="{17EC888E-064B-4741-B24A-BBDFD2A9BB39}"/>
          </ac:spMkLst>
        </pc:spChg>
        <pc:spChg chg="add del mod">
          <ac:chgData name="Marc Feldkirchner" userId="c4135e70-53ec-4cd4-a1bd-4ca908459c8c" providerId="ADAL" clId="{7F9C2C8A-03C3-431A-BE04-83FBFEAB7D91}" dt="2022-03-10T22:51:39.138" v="1561"/>
          <ac:spMkLst>
            <pc:docMk/>
            <pc:sldMk cId="2311678989" sldId="388"/>
            <ac:spMk id="12" creationId="{E29318C6-8AB6-4511-893E-AF1B6F0B3C7D}"/>
          </ac:spMkLst>
        </pc:spChg>
        <pc:spChg chg="add del mod">
          <ac:chgData name="Marc Feldkirchner" userId="c4135e70-53ec-4cd4-a1bd-4ca908459c8c" providerId="ADAL" clId="{7F9C2C8A-03C3-431A-BE04-83FBFEAB7D91}" dt="2022-03-10T22:51:39.138" v="1561"/>
          <ac:spMkLst>
            <pc:docMk/>
            <pc:sldMk cId="2311678989" sldId="388"/>
            <ac:spMk id="13" creationId="{DEE4E7AF-A83F-47A4-A309-D4DD5FF0DD76}"/>
          </ac:spMkLst>
        </pc:spChg>
        <pc:spChg chg="add del mod">
          <ac:chgData name="Marc Feldkirchner" userId="c4135e70-53ec-4cd4-a1bd-4ca908459c8c" providerId="ADAL" clId="{7F9C2C8A-03C3-431A-BE04-83FBFEAB7D91}" dt="2022-03-10T22:51:39.138" v="1561"/>
          <ac:spMkLst>
            <pc:docMk/>
            <pc:sldMk cId="2311678989" sldId="388"/>
            <ac:spMk id="14" creationId="{BD4F3E6D-D255-44A0-AA51-2E44FC16108B}"/>
          </ac:spMkLst>
        </pc:spChg>
        <pc:spChg chg="add del mod">
          <ac:chgData name="Marc Feldkirchner" userId="c4135e70-53ec-4cd4-a1bd-4ca908459c8c" providerId="ADAL" clId="{7F9C2C8A-03C3-431A-BE04-83FBFEAB7D91}" dt="2022-03-10T22:51:39.138" v="1561"/>
          <ac:spMkLst>
            <pc:docMk/>
            <pc:sldMk cId="2311678989" sldId="388"/>
            <ac:spMk id="15" creationId="{EA996ADB-36D4-42C5-AE9E-B0AFCB583AF8}"/>
          </ac:spMkLst>
        </pc:spChg>
        <pc:spChg chg="add del mod">
          <ac:chgData name="Marc Feldkirchner" userId="c4135e70-53ec-4cd4-a1bd-4ca908459c8c" providerId="ADAL" clId="{7F9C2C8A-03C3-431A-BE04-83FBFEAB7D91}" dt="2022-03-10T22:51:39.138" v="1561"/>
          <ac:spMkLst>
            <pc:docMk/>
            <pc:sldMk cId="2311678989" sldId="388"/>
            <ac:spMk id="16" creationId="{2B86E561-E07D-4940-921E-AE4B1292A696}"/>
          </ac:spMkLst>
        </pc:spChg>
        <pc:spChg chg="add del mod">
          <ac:chgData name="Marc Feldkirchner" userId="c4135e70-53ec-4cd4-a1bd-4ca908459c8c" providerId="ADAL" clId="{7F9C2C8A-03C3-431A-BE04-83FBFEAB7D91}" dt="2022-03-10T22:51:39.138" v="1561"/>
          <ac:spMkLst>
            <pc:docMk/>
            <pc:sldMk cId="2311678989" sldId="388"/>
            <ac:spMk id="17" creationId="{86D4AAB0-5B26-440E-8316-A8D7BE3EE7C8}"/>
          </ac:spMkLst>
        </pc:spChg>
        <pc:spChg chg="add del mod">
          <ac:chgData name="Marc Feldkirchner" userId="c4135e70-53ec-4cd4-a1bd-4ca908459c8c" providerId="ADAL" clId="{7F9C2C8A-03C3-431A-BE04-83FBFEAB7D91}" dt="2022-03-10T22:51:44.059" v="1563"/>
          <ac:spMkLst>
            <pc:docMk/>
            <pc:sldMk cId="2311678989" sldId="388"/>
            <ac:spMk id="18" creationId="{3023E1A9-A32E-431C-A17F-D03BD51B2056}"/>
          </ac:spMkLst>
        </pc:spChg>
        <pc:spChg chg="add del mod">
          <ac:chgData name="Marc Feldkirchner" userId="c4135e70-53ec-4cd4-a1bd-4ca908459c8c" providerId="ADAL" clId="{7F9C2C8A-03C3-431A-BE04-83FBFEAB7D91}" dt="2022-03-10T22:51:44.059" v="1563"/>
          <ac:spMkLst>
            <pc:docMk/>
            <pc:sldMk cId="2311678989" sldId="388"/>
            <ac:spMk id="19" creationId="{85635916-CC76-4131-80BE-6013A9F7014B}"/>
          </ac:spMkLst>
        </pc:spChg>
        <pc:spChg chg="add del mod">
          <ac:chgData name="Marc Feldkirchner" userId="c4135e70-53ec-4cd4-a1bd-4ca908459c8c" providerId="ADAL" clId="{7F9C2C8A-03C3-431A-BE04-83FBFEAB7D91}" dt="2022-03-10T22:51:44.059" v="1563"/>
          <ac:spMkLst>
            <pc:docMk/>
            <pc:sldMk cId="2311678989" sldId="388"/>
            <ac:spMk id="20" creationId="{6D9AEE05-6C10-47A8-8F35-DBBF01701FA5}"/>
          </ac:spMkLst>
        </pc:spChg>
        <pc:spChg chg="add del mod">
          <ac:chgData name="Marc Feldkirchner" userId="c4135e70-53ec-4cd4-a1bd-4ca908459c8c" providerId="ADAL" clId="{7F9C2C8A-03C3-431A-BE04-83FBFEAB7D91}" dt="2022-03-10T22:51:44.059" v="1563"/>
          <ac:spMkLst>
            <pc:docMk/>
            <pc:sldMk cId="2311678989" sldId="388"/>
            <ac:spMk id="21" creationId="{535454DB-7876-4BFF-A6D2-892FF7676D89}"/>
          </ac:spMkLst>
        </pc:spChg>
        <pc:spChg chg="add del mod">
          <ac:chgData name="Marc Feldkirchner" userId="c4135e70-53ec-4cd4-a1bd-4ca908459c8c" providerId="ADAL" clId="{7F9C2C8A-03C3-431A-BE04-83FBFEAB7D91}" dt="2022-03-10T22:51:44.059" v="1563"/>
          <ac:spMkLst>
            <pc:docMk/>
            <pc:sldMk cId="2311678989" sldId="388"/>
            <ac:spMk id="22" creationId="{73EF9436-5442-4473-874F-46F4F785BA86}"/>
          </ac:spMkLst>
        </pc:spChg>
        <pc:spChg chg="add del mod">
          <ac:chgData name="Marc Feldkirchner" userId="c4135e70-53ec-4cd4-a1bd-4ca908459c8c" providerId="ADAL" clId="{7F9C2C8A-03C3-431A-BE04-83FBFEAB7D91}" dt="2022-03-10T22:51:44.059" v="1563"/>
          <ac:spMkLst>
            <pc:docMk/>
            <pc:sldMk cId="2311678989" sldId="388"/>
            <ac:spMk id="23" creationId="{5AD4DE68-66C5-4124-8D5D-186084CB4BC6}"/>
          </ac:spMkLst>
        </pc:spChg>
        <pc:spChg chg="add del mod">
          <ac:chgData name="Marc Feldkirchner" userId="c4135e70-53ec-4cd4-a1bd-4ca908459c8c" providerId="ADAL" clId="{7F9C2C8A-03C3-431A-BE04-83FBFEAB7D91}" dt="2022-03-10T22:51:44.059" v="1563"/>
          <ac:spMkLst>
            <pc:docMk/>
            <pc:sldMk cId="2311678989" sldId="388"/>
            <ac:spMk id="24" creationId="{F7D69AA4-1B0B-4F26-886C-E8AFAC96192D}"/>
          </ac:spMkLst>
        </pc:spChg>
        <pc:spChg chg="add del mod">
          <ac:chgData name="Marc Feldkirchner" userId="c4135e70-53ec-4cd4-a1bd-4ca908459c8c" providerId="ADAL" clId="{7F9C2C8A-03C3-431A-BE04-83FBFEAB7D91}" dt="2022-03-10T22:51:44.059" v="1563"/>
          <ac:spMkLst>
            <pc:docMk/>
            <pc:sldMk cId="2311678989" sldId="388"/>
            <ac:spMk id="25" creationId="{604A6488-F06A-4275-9820-5A81642BE3F7}"/>
          </ac:spMkLst>
        </pc:spChg>
        <pc:spChg chg="add del mod">
          <ac:chgData name="Marc Feldkirchner" userId="c4135e70-53ec-4cd4-a1bd-4ca908459c8c" providerId="ADAL" clId="{7F9C2C8A-03C3-431A-BE04-83FBFEAB7D91}" dt="2022-03-10T22:51:44.059" v="1563"/>
          <ac:spMkLst>
            <pc:docMk/>
            <pc:sldMk cId="2311678989" sldId="388"/>
            <ac:spMk id="26" creationId="{EAF285EB-795A-4E2D-B026-0068E6687004}"/>
          </ac:spMkLst>
        </pc:spChg>
        <pc:spChg chg="add del mod">
          <ac:chgData name="Marc Feldkirchner" userId="c4135e70-53ec-4cd4-a1bd-4ca908459c8c" providerId="ADAL" clId="{7F9C2C8A-03C3-431A-BE04-83FBFEAB7D91}" dt="2022-03-10T22:51:44.059" v="1563"/>
          <ac:spMkLst>
            <pc:docMk/>
            <pc:sldMk cId="2311678989" sldId="388"/>
            <ac:spMk id="27" creationId="{83FC65EC-2337-4FBD-81E2-1019C5365212}"/>
          </ac:spMkLst>
        </pc:spChg>
        <pc:spChg chg="add del mod">
          <ac:chgData name="Marc Feldkirchner" userId="c4135e70-53ec-4cd4-a1bd-4ca908459c8c" providerId="ADAL" clId="{7F9C2C8A-03C3-431A-BE04-83FBFEAB7D91}" dt="2022-03-10T22:51:44.059" v="1563"/>
          <ac:spMkLst>
            <pc:docMk/>
            <pc:sldMk cId="2311678989" sldId="388"/>
            <ac:spMk id="28" creationId="{8B969B8F-86D9-45A8-AE95-DFE3EBE6A08F}"/>
          </ac:spMkLst>
        </pc:spChg>
        <pc:spChg chg="add del mod">
          <ac:chgData name="Marc Feldkirchner" userId="c4135e70-53ec-4cd4-a1bd-4ca908459c8c" providerId="ADAL" clId="{7F9C2C8A-03C3-431A-BE04-83FBFEAB7D91}" dt="2022-03-10T22:51:44.059" v="1563"/>
          <ac:spMkLst>
            <pc:docMk/>
            <pc:sldMk cId="2311678989" sldId="388"/>
            <ac:spMk id="29" creationId="{83290ECB-AE00-4B22-B1A8-C573C395FFB1}"/>
          </ac:spMkLst>
        </pc:spChg>
        <pc:spChg chg="add mod">
          <ac:chgData name="Marc Feldkirchner" userId="c4135e70-53ec-4cd4-a1bd-4ca908459c8c" providerId="ADAL" clId="{7F9C2C8A-03C3-431A-BE04-83FBFEAB7D91}" dt="2022-03-22T16:36:57.699" v="1927" actId="207"/>
          <ac:spMkLst>
            <pc:docMk/>
            <pc:sldMk cId="2311678989" sldId="388"/>
            <ac:spMk id="30" creationId="{BE3297E5-AE0E-42B4-8159-FA1534F72B9C}"/>
          </ac:spMkLst>
        </pc:spChg>
        <pc:spChg chg="add mod">
          <ac:chgData name="Marc Feldkirchner" userId="c4135e70-53ec-4cd4-a1bd-4ca908459c8c" providerId="ADAL" clId="{7F9C2C8A-03C3-431A-BE04-83FBFEAB7D91}" dt="2022-03-22T16:36:57.699" v="1927" actId="207"/>
          <ac:spMkLst>
            <pc:docMk/>
            <pc:sldMk cId="2311678989" sldId="388"/>
            <ac:spMk id="31" creationId="{6EDC7698-EF64-489C-9929-7C58FAA23627}"/>
          </ac:spMkLst>
        </pc:spChg>
        <pc:spChg chg="add mod">
          <ac:chgData name="Marc Feldkirchner" userId="c4135e70-53ec-4cd4-a1bd-4ca908459c8c" providerId="ADAL" clId="{7F9C2C8A-03C3-431A-BE04-83FBFEAB7D91}" dt="2022-03-22T16:36:57.699" v="1927" actId="207"/>
          <ac:spMkLst>
            <pc:docMk/>
            <pc:sldMk cId="2311678989" sldId="388"/>
            <ac:spMk id="32" creationId="{1F35781B-338E-4341-A360-B21420B7C252}"/>
          </ac:spMkLst>
        </pc:spChg>
        <pc:spChg chg="add mod">
          <ac:chgData name="Marc Feldkirchner" userId="c4135e70-53ec-4cd4-a1bd-4ca908459c8c" providerId="ADAL" clId="{7F9C2C8A-03C3-431A-BE04-83FBFEAB7D91}" dt="2022-03-22T16:36:57.699" v="1927" actId="207"/>
          <ac:spMkLst>
            <pc:docMk/>
            <pc:sldMk cId="2311678989" sldId="388"/>
            <ac:spMk id="33" creationId="{CCEBC2A1-65FD-4428-8C64-AC5B5D764F8E}"/>
          </ac:spMkLst>
        </pc:spChg>
        <pc:spChg chg="add mod">
          <ac:chgData name="Marc Feldkirchner" userId="c4135e70-53ec-4cd4-a1bd-4ca908459c8c" providerId="ADAL" clId="{7F9C2C8A-03C3-431A-BE04-83FBFEAB7D91}" dt="2022-03-10T22:51:44.069" v="1564"/>
          <ac:spMkLst>
            <pc:docMk/>
            <pc:sldMk cId="2311678989" sldId="388"/>
            <ac:spMk id="34" creationId="{5831B50F-397D-43E8-A633-79349A991C0D}"/>
          </ac:spMkLst>
        </pc:spChg>
        <pc:spChg chg="add mod">
          <ac:chgData name="Marc Feldkirchner" userId="c4135e70-53ec-4cd4-a1bd-4ca908459c8c" providerId="ADAL" clId="{7F9C2C8A-03C3-431A-BE04-83FBFEAB7D91}" dt="2022-03-10T22:51:44.069" v="1564"/>
          <ac:spMkLst>
            <pc:docMk/>
            <pc:sldMk cId="2311678989" sldId="388"/>
            <ac:spMk id="35" creationId="{30DEEC99-03B7-4009-AE1A-2C6D21EED21A}"/>
          </ac:spMkLst>
        </pc:spChg>
        <pc:spChg chg="add mod">
          <ac:chgData name="Marc Feldkirchner" userId="c4135e70-53ec-4cd4-a1bd-4ca908459c8c" providerId="ADAL" clId="{7F9C2C8A-03C3-431A-BE04-83FBFEAB7D91}" dt="2022-03-10T22:51:44.069" v="1564"/>
          <ac:spMkLst>
            <pc:docMk/>
            <pc:sldMk cId="2311678989" sldId="388"/>
            <ac:spMk id="36" creationId="{6E098A6E-CCF5-4C37-805E-D22AA34926FA}"/>
          </ac:spMkLst>
        </pc:spChg>
        <pc:spChg chg="add mod">
          <ac:chgData name="Marc Feldkirchner" userId="c4135e70-53ec-4cd4-a1bd-4ca908459c8c" providerId="ADAL" clId="{7F9C2C8A-03C3-431A-BE04-83FBFEAB7D91}" dt="2022-03-10T22:55:11.729" v="1658" actId="20577"/>
          <ac:spMkLst>
            <pc:docMk/>
            <pc:sldMk cId="2311678989" sldId="388"/>
            <ac:spMk id="37" creationId="{963C344B-C031-4E50-94A9-F7A42CAE6738}"/>
          </ac:spMkLst>
        </pc:spChg>
        <pc:spChg chg="add mod">
          <ac:chgData name="Marc Feldkirchner" userId="c4135e70-53ec-4cd4-a1bd-4ca908459c8c" providerId="ADAL" clId="{7F9C2C8A-03C3-431A-BE04-83FBFEAB7D91}" dt="2022-03-10T22:55:03.508" v="1655" actId="20577"/>
          <ac:spMkLst>
            <pc:docMk/>
            <pc:sldMk cId="2311678989" sldId="388"/>
            <ac:spMk id="38" creationId="{9F443E4A-7AFD-4BDD-84DC-E180F11EE923}"/>
          </ac:spMkLst>
        </pc:spChg>
        <pc:spChg chg="add mod">
          <ac:chgData name="Marc Feldkirchner" userId="c4135e70-53ec-4cd4-a1bd-4ca908459c8c" providerId="ADAL" clId="{7F9C2C8A-03C3-431A-BE04-83FBFEAB7D91}" dt="2022-03-10T22:55:18.672" v="1662" actId="20577"/>
          <ac:spMkLst>
            <pc:docMk/>
            <pc:sldMk cId="2311678989" sldId="388"/>
            <ac:spMk id="39" creationId="{D04F06B4-69A9-49FB-98AE-8B800DAFD9F2}"/>
          </ac:spMkLst>
        </pc:spChg>
        <pc:spChg chg="add mod">
          <ac:chgData name="Marc Feldkirchner" userId="c4135e70-53ec-4cd4-a1bd-4ca908459c8c" providerId="ADAL" clId="{7F9C2C8A-03C3-431A-BE04-83FBFEAB7D91}" dt="2022-03-10T22:55:22.708" v="1663"/>
          <ac:spMkLst>
            <pc:docMk/>
            <pc:sldMk cId="2311678989" sldId="388"/>
            <ac:spMk id="40" creationId="{330C4038-7BEE-428F-A40E-969513639BBC}"/>
          </ac:spMkLst>
        </pc:spChg>
        <pc:spChg chg="add mod">
          <ac:chgData name="Marc Feldkirchner" userId="c4135e70-53ec-4cd4-a1bd-4ca908459c8c" providerId="ADAL" clId="{7F9C2C8A-03C3-431A-BE04-83FBFEAB7D91}" dt="2022-03-10T23:02:59.369" v="1776" actId="20577"/>
          <ac:spMkLst>
            <pc:docMk/>
            <pc:sldMk cId="2311678989" sldId="388"/>
            <ac:spMk id="41" creationId="{F7ADCE4C-766F-4A61-A91B-3018C69D8BF2}"/>
          </ac:spMkLst>
        </pc:spChg>
        <pc:spChg chg="add del mod">
          <ac:chgData name="Marc Feldkirchner" userId="c4135e70-53ec-4cd4-a1bd-4ca908459c8c" providerId="ADAL" clId="{7F9C2C8A-03C3-431A-BE04-83FBFEAB7D91}" dt="2022-03-10T22:57:03.817" v="1709"/>
          <ac:spMkLst>
            <pc:docMk/>
            <pc:sldMk cId="2311678989" sldId="388"/>
            <ac:spMk id="42" creationId="{D227C4D8-6E84-4F7C-B7F9-C457FCD8613C}"/>
          </ac:spMkLst>
        </pc:spChg>
        <pc:spChg chg="add mod">
          <ac:chgData name="Marc Feldkirchner" userId="c4135e70-53ec-4cd4-a1bd-4ca908459c8c" providerId="ADAL" clId="{7F9C2C8A-03C3-431A-BE04-83FBFEAB7D91}" dt="2022-03-10T23:01:02.831" v="1737" actId="1582"/>
          <ac:spMkLst>
            <pc:docMk/>
            <pc:sldMk cId="2311678989" sldId="388"/>
            <ac:spMk id="43" creationId="{0964E5CB-23B0-4EA3-828F-4D44A740A7C0}"/>
          </ac:spMkLst>
        </pc:spChg>
        <pc:spChg chg="add mod">
          <ac:chgData name="Marc Feldkirchner" userId="c4135e70-53ec-4cd4-a1bd-4ca908459c8c" providerId="ADAL" clId="{7F9C2C8A-03C3-431A-BE04-83FBFEAB7D91}" dt="2022-03-10T23:00:58.044" v="1736" actId="1582"/>
          <ac:spMkLst>
            <pc:docMk/>
            <pc:sldMk cId="2311678989" sldId="388"/>
            <ac:spMk id="44" creationId="{A20BEBB2-E733-437E-A5B0-090FCC1751E9}"/>
          </ac:spMkLst>
        </pc:spChg>
        <pc:spChg chg="add mod">
          <ac:chgData name="Marc Feldkirchner" userId="c4135e70-53ec-4cd4-a1bd-4ca908459c8c" providerId="ADAL" clId="{7F9C2C8A-03C3-431A-BE04-83FBFEAB7D91}" dt="2022-03-10T23:02:00.244" v="1747" actId="20577"/>
          <ac:spMkLst>
            <pc:docMk/>
            <pc:sldMk cId="2311678989" sldId="388"/>
            <ac:spMk id="45" creationId="{5DF7CF15-AFE7-44BB-97E1-20A8EEEDC17B}"/>
          </ac:spMkLst>
        </pc:spChg>
        <pc:spChg chg="add mod">
          <ac:chgData name="Marc Feldkirchner" userId="c4135e70-53ec-4cd4-a1bd-4ca908459c8c" providerId="ADAL" clId="{7F9C2C8A-03C3-431A-BE04-83FBFEAB7D91}" dt="2022-03-10T23:02:04.552" v="1751" actId="20577"/>
          <ac:spMkLst>
            <pc:docMk/>
            <pc:sldMk cId="2311678989" sldId="388"/>
            <ac:spMk id="46" creationId="{F8B3645E-9EE0-49C3-9E43-F37CBD04A71F}"/>
          </ac:spMkLst>
        </pc:spChg>
      </pc:sldChg>
      <pc:sldChg chg="addSp delSp modSp new mod">
        <pc:chgData name="Marc Feldkirchner" userId="c4135e70-53ec-4cd4-a1bd-4ca908459c8c" providerId="ADAL" clId="{7F9C2C8A-03C3-431A-BE04-83FBFEAB7D91}" dt="2022-03-22T16:37:07.363" v="1928" actId="207"/>
        <pc:sldMkLst>
          <pc:docMk/>
          <pc:sldMk cId="1686671835" sldId="389"/>
        </pc:sldMkLst>
        <pc:spChg chg="del">
          <ac:chgData name="Marc Feldkirchner" userId="c4135e70-53ec-4cd4-a1bd-4ca908459c8c" providerId="ADAL" clId="{7F9C2C8A-03C3-431A-BE04-83FBFEAB7D91}" dt="2022-03-10T23:03:34.611" v="1778" actId="478"/>
          <ac:spMkLst>
            <pc:docMk/>
            <pc:sldMk cId="1686671835" sldId="389"/>
            <ac:spMk id="5" creationId="{45916DC5-EFC3-4C2A-A3C5-150C2E3E056B}"/>
          </ac:spMkLst>
        </pc:spChg>
        <pc:spChg chg="add del mod">
          <ac:chgData name="Marc Feldkirchner" userId="c4135e70-53ec-4cd4-a1bd-4ca908459c8c" providerId="ADAL" clId="{7F9C2C8A-03C3-431A-BE04-83FBFEAB7D91}" dt="2022-03-10T23:11:33.323" v="1817" actId="478"/>
          <ac:spMkLst>
            <pc:docMk/>
            <pc:sldMk cId="1686671835" sldId="389"/>
            <ac:spMk id="6" creationId="{A50863EF-482A-4EB4-86AE-0390AB9E4162}"/>
          </ac:spMkLst>
        </pc:spChg>
        <pc:spChg chg="add del mod">
          <ac:chgData name="Marc Feldkirchner" userId="c4135e70-53ec-4cd4-a1bd-4ca908459c8c" providerId="ADAL" clId="{7F9C2C8A-03C3-431A-BE04-83FBFEAB7D91}" dt="2022-03-10T23:11:33.323" v="1817" actId="478"/>
          <ac:spMkLst>
            <pc:docMk/>
            <pc:sldMk cId="1686671835" sldId="389"/>
            <ac:spMk id="7" creationId="{4D355E39-4260-4E2A-BB75-F2B80B64B600}"/>
          </ac:spMkLst>
        </pc:spChg>
        <pc:spChg chg="add del mod">
          <ac:chgData name="Marc Feldkirchner" userId="c4135e70-53ec-4cd4-a1bd-4ca908459c8c" providerId="ADAL" clId="{7F9C2C8A-03C3-431A-BE04-83FBFEAB7D91}" dt="2022-03-10T23:11:33.323" v="1817" actId="478"/>
          <ac:spMkLst>
            <pc:docMk/>
            <pc:sldMk cId="1686671835" sldId="389"/>
            <ac:spMk id="8" creationId="{D0D76F08-C981-4E9F-9F8A-CE02CA1A3382}"/>
          </ac:spMkLst>
        </pc:spChg>
        <pc:spChg chg="add del mod">
          <ac:chgData name="Marc Feldkirchner" userId="c4135e70-53ec-4cd4-a1bd-4ca908459c8c" providerId="ADAL" clId="{7F9C2C8A-03C3-431A-BE04-83FBFEAB7D91}" dt="2022-03-10T23:11:33.323" v="1817" actId="478"/>
          <ac:spMkLst>
            <pc:docMk/>
            <pc:sldMk cId="1686671835" sldId="389"/>
            <ac:spMk id="9" creationId="{D9A0569B-BEDC-48C5-B787-1CB93444FC1B}"/>
          </ac:spMkLst>
        </pc:spChg>
        <pc:spChg chg="add del mod">
          <ac:chgData name="Marc Feldkirchner" userId="c4135e70-53ec-4cd4-a1bd-4ca908459c8c" providerId="ADAL" clId="{7F9C2C8A-03C3-431A-BE04-83FBFEAB7D91}" dt="2022-03-10T23:11:33.323" v="1817" actId="478"/>
          <ac:spMkLst>
            <pc:docMk/>
            <pc:sldMk cId="1686671835" sldId="389"/>
            <ac:spMk id="10" creationId="{6BDF7228-1CE8-4681-A4BC-2AEB94D8EB80}"/>
          </ac:spMkLst>
        </pc:spChg>
        <pc:spChg chg="add del mod">
          <ac:chgData name="Marc Feldkirchner" userId="c4135e70-53ec-4cd4-a1bd-4ca908459c8c" providerId="ADAL" clId="{7F9C2C8A-03C3-431A-BE04-83FBFEAB7D91}" dt="2022-03-10T23:07:14.923" v="1800" actId="478"/>
          <ac:spMkLst>
            <pc:docMk/>
            <pc:sldMk cId="1686671835" sldId="389"/>
            <ac:spMk id="11" creationId="{8DA50315-0150-4B12-8178-CEDE1C4A3842}"/>
          </ac:spMkLst>
        </pc:spChg>
        <pc:spChg chg="add del mod">
          <ac:chgData name="Marc Feldkirchner" userId="c4135e70-53ec-4cd4-a1bd-4ca908459c8c" providerId="ADAL" clId="{7F9C2C8A-03C3-431A-BE04-83FBFEAB7D91}" dt="2022-03-10T23:11:33.323" v="1817" actId="478"/>
          <ac:spMkLst>
            <pc:docMk/>
            <pc:sldMk cId="1686671835" sldId="389"/>
            <ac:spMk id="12" creationId="{4C424BB6-01AC-4141-A3E3-D7EDEED2C88E}"/>
          </ac:spMkLst>
        </pc:spChg>
        <pc:spChg chg="add del mod">
          <ac:chgData name="Marc Feldkirchner" userId="c4135e70-53ec-4cd4-a1bd-4ca908459c8c" providerId="ADAL" clId="{7F9C2C8A-03C3-431A-BE04-83FBFEAB7D91}" dt="2022-03-10T23:11:33.323" v="1817" actId="478"/>
          <ac:spMkLst>
            <pc:docMk/>
            <pc:sldMk cId="1686671835" sldId="389"/>
            <ac:spMk id="13" creationId="{12D53166-B630-4FC3-80B8-4A00E58DC3E0}"/>
          </ac:spMkLst>
        </pc:spChg>
        <pc:spChg chg="add mod">
          <ac:chgData name="Marc Feldkirchner" userId="c4135e70-53ec-4cd4-a1bd-4ca908459c8c" providerId="ADAL" clId="{7F9C2C8A-03C3-431A-BE04-83FBFEAB7D91}" dt="2022-03-22T16:37:07.363" v="1928" actId="207"/>
          <ac:spMkLst>
            <pc:docMk/>
            <pc:sldMk cId="1686671835" sldId="389"/>
            <ac:spMk id="14" creationId="{7C6400BC-7F08-4F74-8319-B48FDA55F922}"/>
          </ac:spMkLst>
        </pc:spChg>
        <pc:spChg chg="add mod">
          <ac:chgData name="Marc Feldkirchner" userId="c4135e70-53ec-4cd4-a1bd-4ca908459c8c" providerId="ADAL" clId="{7F9C2C8A-03C3-431A-BE04-83FBFEAB7D91}" dt="2022-03-10T23:11:50.063" v="1818"/>
          <ac:spMkLst>
            <pc:docMk/>
            <pc:sldMk cId="1686671835" sldId="389"/>
            <ac:spMk id="15" creationId="{A89F10CF-9FC3-4A02-8180-635B2E8B4DA3}"/>
          </ac:spMkLst>
        </pc:spChg>
        <pc:spChg chg="add mod">
          <ac:chgData name="Marc Feldkirchner" userId="c4135e70-53ec-4cd4-a1bd-4ca908459c8c" providerId="ADAL" clId="{7F9C2C8A-03C3-431A-BE04-83FBFEAB7D91}" dt="2022-03-10T23:11:50.063" v="1818"/>
          <ac:spMkLst>
            <pc:docMk/>
            <pc:sldMk cId="1686671835" sldId="389"/>
            <ac:spMk id="16" creationId="{E5E9D55A-0FF6-4CDA-8EB0-80E5EFF77451}"/>
          </ac:spMkLst>
        </pc:spChg>
        <pc:spChg chg="add mod">
          <ac:chgData name="Marc Feldkirchner" userId="c4135e70-53ec-4cd4-a1bd-4ca908459c8c" providerId="ADAL" clId="{7F9C2C8A-03C3-431A-BE04-83FBFEAB7D91}" dt="2022-03-10T23:11:50.063" v="1818"/>
          <ac:spMkLst>
            <pc:docMk/>
            <pc:sldMk cId="1686671835" sldId="389"/>
            <ac:spMk id="17" creationId="{E73D23E6-4D75-46E2-90B8-3CA45214828A}"/>
          </ac:spMkLst>
        </pc:spChg>
        <pc:spChg chg="add mod">
          <ac:chgData name="Marc Feldkirchner" userId="c4135e70-53ec-4cd4-a1bd-4ca908459c8c" providerId="ADAL" clId="{7F9C2C8A-03C3-431A-BE04-83FBFEAB7D91}" dt="2022-03-10T23:11:50.063" v="1818"/>
          <ac:spMkLst>
            <pc:docMk/>
            <pc:sldMk cId="1686671835" sldId="389"/>
            <ac:spMk id="18" creationId="{30B1B273-A32E-4C3F-9366-90E5A074B94B}"/>
          </ac:spMkLst>
        </pc:spChg>
        <pc:spChg chg="add mod">
          <ac:chgData name="Marc Feldkirchner" userId="c4135e70-53ec-4cd4-a1bd-4ca908459c8c" providerId="ADAL" clId="{7F9C2C8A-03C3-431A-BE04-83FBFEAB7D91}" dt="2022-03-10T23:11:50.063" v="1818"/>
          <ac:spMkLst>
            <pc:docMk/>
            <pc:sldMk cId="1686671835" sldId="389"/>
            <ac:spMk id="19" creationId="{BC062910-7863-4F68-B8D5-559D342FD067}"/>
          </ac:spMkLst>
        </pc:spChg>
        <pc:spChg chg="add mod">
          <ac:chgData name="Marc Feldkirchner" userId="c4135e70-53ec-4cd4-a1bd-4ca908459c8c" providerId="ADAL" clId="{7F9C2C8A-03C3-431A-BE04-83FBFEAB7D91}" dt="2022-03-10T23:11:50.063" v="1818"/>
          <ac:spMkLst>
            <pc:docMk/>
            <pc:sldMk cId="1686671835" sldId="389"/>
            <ac:spMk id="20" creationId="{0981766C-C4B7-44D4-8342-E9045C4289CF}"/>
          </ac:spMkLst>
        </pc:spChg>
        <pc:spChg chg="add mod">
          <ac:chgData name="Marc Feldkirchner" userId="c4135e70-53ec-4cd4-a1bd-4ca908459c8c" providerId="ADAL" clId="{7F9C2C8A-03C3-431A-BE04-83FBFEAB7D91}" dt="2022-03-22T16:37:07.363" v="1928" actId="207"/>
          <ac:spMkLst>
            <pc:docMk/>
            <pc:sldMk cId="1686671835" sldId="389"/>
            <ac:spMk id="21" creationId="{39107F13-30D7-413B-87E8-DE5D97AFD3B0}"/>
          </ac:spMkLst>
        </pc:spChg>
        <pc:spChg chg="add mod">
          <ac:chgData name="Marc Feldkirchner" userId="c4135e70-53ec-4cd4-a1bd-4ca908459c8c" providerId="ADAL" clId="{7F9C2C8A-03C3-431A-BE04-83FBFEAB7D91}" dt="2022-03-22T16:37:07.363" v="1928" actId="207"/>
          <ac:spMkLst>
            <pc:docMk/>
            <pc:sldMk cId="1686671835" sldId="389"/>
            <ac:spMk id="22" creationId="{0D1C4E47-AE40-49A8-928F-B74C1741E81F}"/>
          </ac:spMkLst>
        </pc:spChg>
        <pc:spChg chg="add mod">
          <ac:chgData name="Marc Feldkirchner" userId="c4135e70-53ec-4cd4-a1bd-4ca908459c8c" providerId="ADAL" clId="{7F9C2C8A-03C3-431A-BE04-83FBFEAB7D91}" dt="2022-03-22T16:37:07.363" v="1928" actId="207"/>
          <ac:spMkLst>
            <pc:docMk/>
            <pc:sldMk cId="1686671835" sldId="389"/>
            <ac:spMk id="23" creationId="{F8DD51B0-8779-4C4F-9E7E-EC56DD0F6496}"/>
          </ac:spMkLst>
        </pc:spChg>
        <pc:spChg chg="add mod">
          <ac:chgData name="Marc Feldkirchner" userId="c4135e70-53ec-4cd4-a1bd-4ca908459c8c" providerId="ADAL" clId="{7F9C2C8A-03C3-431A-BE04-83FBFEAB7D91}" dt="2022-03-22T16:37:07.363" v="1928" actId="207"/>
          <ac:spMkLst>
            <pc:docMk/>
            <pc:sldMk cId="1686671835" sldId="389"/>
            <ac:spMk id="24" creationId="{B9A1CFB7-19C4-490E-8112-E4D541094EA9}"/>
          </ac:spMkLst>
        </pc:spChg>
        <pc:spChg chg="add mod">
          <ac:chgData name="Marc Feldkirchner" userId="c4135e70-53ec-4cd4-a1bd-4ca908459c8c" providerId="ADAL" clId="{7F9C2C8A-03C3-431A-BE04-83FBFEAB7D91}" dt="2022-03-10T23:11:50.063" v="1818"/>
          <ac:spMkLst>
            <pc:docMk/>
            <pc:sldMk cId="1686671835" sldId="389"/>
            <ac:spMk id="25" creationId="{07A56B59-2789-4C14-B438-3119F0B18523}"/>
          </ac:spMkLst>
        </pc:spChg>
        <pc:spChg chg="add mod">
          <ac:chgData name="Marc Feldkirchner" userId="c4135e70-53ec-4cd4-a1bd-4ca908459c8c" providerId="ADAL" clId="{7F9C2C8A-03C3-431A-BE04-83FBFEAB7D91}" dt="2022-03-10T23:12:00.588" v="1819"/>
          <ac:spMkLst>
            <pc:docMk/>
            <pc:sldMk cId="1686671835" sldId="389"/>
            <ac:spMk id="26" creationId="{04642A44-47EF-4068-8C44-E51348021107}"/>
          </ac:spMkLst>
        </pc:spChg>
      </pc:sldChg>
      <pc:sldChg chg="addSp delSp modSp new del mod">
        <pc:chgData name="Marc Feldkirchner" userId="c4135e70-53ec-4cd4-a1bd-4ca908459c8c" providerId="ADAL" clId="{7F9C2C8A-03C3-431A-BE04-83FBFEAB7D91}" dt="2022-03-10T23:21:32.167" v="1926" actId="47"/>
        <pc:sldMkLst>
          <pc:docMk/>
          <pc:sldMk cId="1234178274" sldId="390"/>
        </pc:sldMkLst>
        <pc:spChg chg="mod">
          <ac:chgData name="Marc Feldkirchner" userId="c4135e70-53ec-4cd4-a1bd-4ca908459c8c" providerId="ADAL" clId="{7F9C2C8A-03C3-431A-BE04-83FBFEAB7D91}" dt="2022-03-10T23:20:46.592" v="1925" actId="20577"/>
          <ac:spMkLst>
            <pc:docMk/>
            <pc:sldMk cId="1234178274" sldId="390"/>
            <ac:spMk id="4" creationId="{F4C005A1-7EF7-46AA-8DA1-54CF78E0483C}"/>
          </ac:spMkLst>
        </pc:spChg>
        <pc:spChg chg="del">
          <ac:chgData name="Marc Feldkirchner" userId="c4135e70-53ec-4cd4-a1bd-4ca908459c8c" providerId="ADAL" clId="{7F9C2C8A-03C3-431A-BE04-83FBFEAB7D91}" dt="2022-03-10T23:13:30.746" v="1822" actId="478"/>
          <ac:spMkLst>
            <pc:docMk/>
            <pc:sldMk cId="1234178274" sldId="390"/>
            <ac:spMk id="5" creationId="{55C5CEEB-75B3-40D4-8FA6-C86AA41223B7}"/>
          </ac:spMkLst>
        </pc:spChg>
        <pc:spChg chg="add mod ord">
          <ac:chgData name="Marc Feldkirchner" userId="c4135e70-53ec-4cd4-a1bd-4ca908459c8c" providerId="ADAL" clId="{7F9C2C8A-03C3-431A-BE04-83FBFEAB7D91}" dt="2022-03-10T23:19:50.219" v="1918" actId="166"/>
          <ac:spMkLst>
            <pc:docMk/>
            <pc:sldMk cId="1234178274" sldId="390"/>
            <ac:spMk id="6" creationId="{3FD8723F-A846-4B35-9E7F-900C563E6B85}"/>
          </ac:spMkLst>
        </pc:spChg>
        <pc:spChg chg="add mod">
          <ac:chgData name="Marc Feldkirchner" userId="c4135e70-53ec-4cd4-a1bd-4ca908459c8c" providerId="ADAL" clId="{7F9C2C8A-03C3-431A-BE04-83FBFEAB7D91}" dt="2022-03-10T23:18:59.383" v="1904" actId="14100"/>
          <ac:spMkLst>
            <pc:docMk/>
            <pc:sldMk cId="1234178274" sldId="390"/>
            <ac:spMk id="7" creationId="{6E97859D-5278-4E3A-8C75-61D6EAF0A567}"/>
          </ac:spMkLst>
        </pc:spChg>
        <pc:spChg chg="add del mod">
          <ac:chgData name="Marc Feldkirchner" userId="c4135e70-53ec-4cd4-a1bd-4ca908459c8c" providerId="ADAL" clId="{7F9C2C8A-03C3-431A-BE04-83FBFEAB7D91}" dt="2022-03-10T23:15:08.065" v="1860" actId="478"/>
          <ac:spMkLst>
            <pc:docMk/>
            <pc:sldMk cId="1234178274" sldId="390"/>
            <ac:spMk id="8" creationId="{1C210CF5-9A4B-49E4-AB81-EF219C774C4B}"/>
          </ac:spMkLst>
        </pc:spChg>
        <pc:spChg chg="add del mod">
          <ac:chgData name="Marc Feldkirchner" userId="c4135e70-53ec-4cd4-a1bd-4ca908459c8c" providerId="ADAL" clId="{7F9C2C8A-03C3-431A-BE04-83FBFEAB7D91}" dt="2022-03-10T23:15:02.486" v="1859" actId="478"/>
          <ac:spMkLst>
            <pc:docMk/>
            <pc:sldMk cId="1234178274" sldId="390"/>
            <ac:spMk id="9" creationId="{2CC53D6D-140F-421E-B077-41EF5FEFF795}"/>
          </ac:spMkLst>
        </pc:spChg>
        <pc:spChg chg="add del mod">
          <ac:chgData name="Marc Feldkirchner" userId="c4135e70-53ec-4cd4-a1bd-4ca908459c8c" providerId="ADAL" clId="{7F9C2C8A-03C3-431A-BE04-83FBFEAB7D91}" dt="2022-03-10T23:18:18.274" v="1885" actId="478"/>
          <ac:spMkLst>
            <pc:docMk/>
            <pc:sldMk cId="1234178274" sldId="390"/>
            <ac:spMk id="10" creationId="{B71D777D-0FFC-49DC-9F21-95D26E63C756}"/>
          </ac:spMkLst>
        </pc:spChg>
        <pc:spChg chg="add del mod">
          <ac:chgData name="Marc Feldkirchner" userId="c4135e70-53ec-4cd4-a1bd-4ca908459c8c" providerId="ADAL" clId="{7F9C2C8A-03C3-431A-BE04-83FBFEAB7D91}" dt="2022-03-10T23:15:27.615" v="1868"/>
          <ac:spMkLst>
            <pc:docMk/>
            <pc:sldMk cId="1234178274" sldId="390"/>
            <ac:spMk id="11" creationId="{483AC63B-C4C2-40C5-A6DA-74F3F2AD147E}"/>
          </ac:spMkLst>
        </pc:spChg>
        <pc:spChg chg="add del mod">
          <ac:chgData name="Marc Feldkirchner" userId="c4135e70-53ec-4cd4-a1bd-4ca908459c8c" providerId="ADAL" clId="{7F9C2C8A-03C3-431A-BE04-83FBFEAB7D91}" dt="2022-03-10T23:18:19.823" v="1886" actId="478"/>
          <ac:spMkLst>
            <pc:docMk/>
            <pc:sldMk cId="1234178274" sldId="390"/>
            <ac:spMk id="12" creationId="{AA32834A-374E-419C-A9E9-09282C3F7703}"/>
          </ac:spMkLst>
        </pc:spChg>
        <pc:spChg chg="add del mod">
          <ac:chgData name="Marc Feldkirchner" userId="c4135e70-53ec-4cd4-a1bd-4ca908459c8c" providerId="ADAL" clId="{7F9C2C8A-03C3-431A-BE04-83FBFEAB7D91}" dt="2022-03-10T23:18:20.424" v="1887" actId="478"/>
          <ac:spMkLst>
            <pc:docMk/>
            <pc:sldMk cId="1234178274" sldId="390"/>
            <ac:spMk id="13" creationId="{740A5D30-1A98-4AE3-9CB5-F32DB0930A35}"/>
          </ac:spMkLst>
        </pc:spChg>
        <pc:spChg chg="add mod">
          <ac:chgData name="Marc Feldkirchner" userId="c4135e70-53ec-4cd4-a1bd-4ca908459c8c" providerId="ADAL" clId="{7F9C2C8A-03C3-431A-BE04-83FBFEAB7D91}" dt="2022-03-10T23:20:26.870" v="1921" actId="2085"/>
          <ac:spMkLst>
            <pc:docMk/>
            <pc:sldMk cId="1234178274" sldId="390"/>
            <ac:spMk id="14" creationId="{C4AE7761-D890-412A-B5D3-AF6F861113A0}"/>
          </ac:spMkLst>
        </pc:spChg>
        <pc:spChg chg="add mod">
          <ac:chgData name="Marc Feldkirchner" userId="c4135e70-53ec-4cd4-a1bd-4ca908459c8c" providerId="ADAL" clId="{7F9C2C8A-03C3-431A-BE04-83FBFEAB7D91}" dt="2022-03-10T23:20:26.870" v="1921" actId="2085"/>
          <ac:spMkLst>
            <pc:docMk/>
            <pc:sldMk cId="1234178274" sldId="390"/>
            <ac:spMk id="15" creationId="{E5E91F03-D3D5-44E5-96CD-B8050B43185A}"/>
          </ac:spMkLst>
        </pc:spChg>
        <pc:spChg chg="add mod">
          <ac:chgData name="Marc Feldkirchner" userId="c4135e70-53ec-4cd4-a1bd-4ca908459c8c" providerId="ADAL" clId="{7F9C2C8A-03C3-431A-BE04-83FBFEAB7D91}" dt="2022-03-10T23:20:26.870" v="1921" actId="2085"/>
          <ac:spMkLst>
            <pc:docMk/>
            <pc:sldMk cId="1234178274" sldId="390"/>
            <ac:spMk id="16" creationId="{ED4CEF6E-355A-447E-BD1A-2322757E0812}"/>
          </ac:spMkLst>
        </pc:spChg>
      </pc:sldChg>
      <pc:sldChg chg="new del">
        <pc:chgData name="Marc Feldkirchner" userId="c4135e70-53ec-4cd4-a1bd-4ca908459c8c" providerId="ADAL" clId="{7F9C2C8A-03C3-431A-BE04-83FBFEAB7D91}" dt="2022-03-22T16:40:13.439" v="1932" actId="47"/>
        <pc:sldMkLst>
          <pc:docMk/>
          <pc:sldMk cId="2304590944" sldId="390"/>
        </pc:sldMkLst>
      </pc:sldChg>
      <pc:sldChg chg="add">
        <pc:chgData name="Marc Feldkirchner" userId="c4135e70-53ec-4cd4-a1bd-4ca908459c8c" providerId="ADAL" clId="{7F9C2C8A-03C3-431A-BE04-83FBFEAB7D91}" dt="2022-03-22T16:37:26.282" v="1930"/>
        <pc:sldMkLst>
          <pc:docMk/>
          <pc:sldMk cId="590577401" sldId="391"/>
        </pc:sldMkLst>
      </pc:sldChg>
      <pc:sldChg chg="add">
        <pc:chgData name="Marc Feldkirchner" userId="c4135e70-53ec-4cd4-a1bd-4ca908459c8c" providerId="ADAL" clId="{7F9C2C8A-03C3-431A-BE04-83FBFEAB7D91}" dt="2022-03-22T16:40:06.620" v="1931"/>
        <pc:sldMkLst>
          <pc:docMk/>
          <pc:sldMk cId="2824741347" sldId="422"/>
        </pc:sldMkLst>
      </pc:sldChg>
      <pc:sldChg chg="add">
        <pc:chgData name="Marc Feldkirchner" userId="c4135e70-53ec-4cd4-a1bd-4ca908459c8c" providerId="ADAL" clId="{7F9C2C8A-03C3-431A-BE04-83FBFEAB7D91}" dt="2022-03-22T16:40:06.620" v="1931"/>
        <pc:sldMkLst>
          <pc:docMk/>
          <pc:sldMk cId="737801744" sldId="424"/>
        </pc:sldMkLst>
      </pc:sldChg>
    </pc:docChg>
  </pc:docChgLst>
  <pc:docChgLst>
    <pc:chgData name="Marc Feldkirchner" userId="c4135e70-53ec-4cd4-a1bd-4ca908459c8c" providerId="ADAL" clId="{13982556-6D2C-4CE3-8E38-9974EF6CBC97}"/>
    <pc:docChg chg="custSel modSld">
      <pc:chgData name="Marc Feldkirchner" userId="c4135e70-53ec-4cd4-a1bd-4ca908459c8c" providerId="ADAL" clId="{13982556-6D2C-4CE3-8E38-9974EF6CBC97}" dt="2021-11-22T17:34:59.398" v="6" actId="478"/>
      <pc:docMkLst>
        <pc:docMk/>
      </pc:docMkLst>
      <pc:sldChg chg="addSp delSp modSp mod">
        <pc:chgData name="Marc Feldkirchner" userId="c4135e70-53ec-4cd4-a1bd-4ca908459c8c" providerId="ADAL" clId="{13982556-6D2C-4CE3-8E38-9974EF6CBC97}" dt="2021-11-22T17:34:59.398" v="6" actId="478"/>
        <pc:sldMkLst>
          <pc:docMk/>
          <pc:sldMk cId="1758373318" sldId="373"/>
        </pc:sldMkLst>
        <pc:spChg chg="add del mod">
          <ac:chgData name="Marc Feldkirchner" userId="c4135e70-53ec-4cd4-a1bd-4ca908459c8c" providerId="ADAL" clId="{13982556-6D2C-4CE3-8E38-9974EF6CBC97}" dt="2021-11-22T17:34:59.398" v="6" actId="478"/>
          <ac:spMkLst>
            <pc:docMk/>
            <pc:sldMk cId="1758373318" sldId="373"/>
            <ac:spMk id="2" creationId="{1A0E5516-4350-449F-8F1B-8BD66ADC7CE0}"/>
          </ac:spMkLst>
        </pc:spChg>
      </pc:sldChg>
    </pc:docChg>
  </pc:docChgLst>
  <pc:docChgLst>
    <pc:chgData name="Marc Feldkirchner" userId="c4135e70-53ec-4cd4-a1bd-4ca908459c8c" providerId="ADAL" clId="{16CCBD85-F179-4CAE-94FA-02D29450FF29}"/>
    <pc:docChg chg="undo redo custSel addSld delSld modSld modMainMaster modSection">
      <pc:chgData name="Marc Feldkirchner" userId="c4135e70-53ec-4cd4-a1bd-4ca908459c8c" providerId="ADAL" clId="{16CCBD85-F179-4CAE-94FA-02D29450FF29}" dt="2021-11-25T17:00:18.264" v="825" actId="47"/>
      <pc:docMkLst>
        <pc:docMk/>
      </pc:docMkLst>
      <pc:sldChg chg="modSp mod">
        <pc:chgData name="Marc Feldkirchner" userId="c4135e70-53ec-4cd4-a1bd-4ca908459c8c" providerId="ADAL" clId="{16CCBD85-F179-4CAE-94FA-02D29450FF29}" dt="2021-11-25T16:20:16.091" v="182" actId="20577"/>
        <pc:sldMkLst>
          <pc:docMk/>
          <pc:sldMk cId="947004393" sldId="336"/>
        </pc:sldMkLst>
        <pc:spChg chg="mod">
          <ac:chgData name="Marc Feldkirchner" userId="c4135e70-53ec-4cd4-a1bd-4ca908459c8c" providerId="ADAL" clId="{16CCBD85-F179-4CAE-94FA-02D29450FF29}" dt="2021-11-25T16:19:24.168" v="108" actId="20577"/>
          <ac:spMkLst>
            <pc:docMk/>
            <pc:sldMk cId="947004393" sldId="336"/>
            <ac:spMk id="13" creationId="{62B6EAAC-0294-4866-B44D-C1EFE7ACA4E5}"/>
          </ac:spMkLst>
        </pc:spChg>
        <pc:spChg chg="mod">
          <ac:chgData name="Marc Feldkirchner" userId="c4135e70-53ec-4cd4-a1bd-4ca908459c8c" providerId="ADAL" clId="{16CCBD85-F179-4CAE-94FA-02D29450FF29}" dt="2021-11-25T16:20:16.091" v="182" actId="20577"/>
          <ac:spMkLst>
            <pc:docMk/>
            <pc:sldMk cId="947004393" sldId="336"/>
            <ac:spMk id="14" creationId="{B07F6F48-85B6-4FFA-9856-27CF4F35ACE8}"/>
          </ac:spMkLst>
        </pc:spChg>
      </pc:sldChg>
      <pc:sldChg chg="addSp delSp modSp mod">
        <pc:chgData name="Marc Feldkirchner" userId="c4135e70-53ec-4cd4-a1bd-4ca908459c8c" providerId="ADAL" clId="{16CCBD85-F179-4CAE-94FA-02D29450FF29}" dt="2021-11-22T19:37:33.932" v="45" actId="478"/>
        <pc:sldMkLst>
          <pc:docMk/>
          <pc:sldMk cId="3038720959" sldId="339"/>
        </pc:sldMkLst>
        <pc:spChg chg="add del mod">
          <ac:chgData name="Marc Feldkirchner" userId="c4135e70-53ec-4cd4-a1bd-4ca908459c8c" providerId="ADAL" clId="{16CCBD85-F179-4CAE-94FA-02D29450FF29}" dt="2021-11-22T19:37:33.932" v="45" actId="478"/>
          <ac:spMkLst>
            <pc:docMk/>
            <pc:sldMk cId="3038720959" sldId="339"/>
            <ac:spMk id="5" creationId="{5D935855-B113-4D71-AAD5-959164DCCDE8}"/>
          </ac:spMkLst>
        </pc:spChg>
        <pc:spChg chg="add del mod ord">
          <ac:chgData name="Marc Feldkirchner" userId="c4135e70-53ec-4cd4-a1bd-4ca908459c8c" providerId="ADAL" clId="{16CCBD85-F179-4CAE-94FA-02D29450FF29}" dt="2021-11-22T19:37:32.869" v="43" actId="11529"/>
          <ac:spMkLst>
            <pc:docMk/>
            <pc:sldMk cId="3038720959" sldId="339"/>
            <ac:spMk id="6" creationId="{083EC10A-CC31-4FA6-B22E-5907C1B100B0}"/>
          </ac:spMkLst>
        </pc:spChg>
        <pc:spChg chg="add del mod">
          <ac:chgData name="Marc Feldkirchner" userId="c4135e70-53ec-4cd4-a1bd-4ca908459c8c" providerId="ADAL" clId="{16CCBD85-F179-4CAE-94FA-02D29450FF29}" dt="2021-11-22T19:37:30.633" v="37"/>
          <ac:spMkLst>
            <pc:docMk/>
            <pc:sldMk cId="3038720959" sldId="339"/>
            <ac:spMk id="10" creationId="{53EC3E6D-2AFD-4319-85C1-851E0F22B81F}"/>
          </ac:spMkLst>
        </pc:spChg>
        <pc:spChg chg="add del">
          <ac:chgData name="Marc Feldkirchner" userId="c4135e70-53ec-4cd4-a1bd-4ca908459c8c" providerId="ADAL" clId="{16CCBD85-F179-4CAE-94FA-02D29450FF29}" dt="2021-11-22T19:37:33.932" v="45" actId="478"/>
          <ac:spMkLst>
            <pc:docMk/>
            <pc:sldMk cId="3038720959" sldId="339"/>
            <ac:spMk id="42" creationId="{E509F2C9-0253-4180-81FE-61E462E5DE0C}"/>
          </ac:spMkLst>
        </pc:spChg>
      </pc:sldChg>
      <pc:sldChg chg="modSp mod">
        <pc:chgData name="Marc Feldkirchner" userId="c4135e70-53ec-4cd4-a1bd-4ca908459c8c" providerId="ADAL" clId="{16CCBD85-F179-4CAE-94FA-02D29450FF29}" dt="2021-11-22T19:35:51.277" v="19" actId="18131"/>
        <pc:sldMkLst>
          <pc:docMk/>
          <pc:sldMk cId="1630686082" sldId="359"/>
        </pc:sldMkLst>
        <pc:picChg chg="mod modCrop">
          <ac:chgData name="Marc Feldkirchner" userId="c4135e70-53ec-4cd4-a1bd-4ca908459c8c" providerId="ADAL" clId="{16CCBD85-F179-4CAE-94FA-02D29450FF29}" dt="2021-11-22T19:35:51.277" v="19" actId="18131"/>
          <ac:picMkLst>
            <pc:docMk/>
            <pc:sldMk cId="1630686082" sldId="359"/>
            <ac:picMk id="7" creationId="{4FAC6C64-5A05-4E53-A3AE-BAF0ADC8936E}"/>
          </ac:picMkLst>
        </pc:picChg>
      </pc:sldChg>
      <pc:sldChg chg="addSp delSp modSp new del mod modClrScheme chgLayout">
        <pc:chgData name="Marc Feldkirchner" userId="c4135e70-53ec-4cd4-a1bd-4ca908459c8c" providerId="ADAL" clId="{16CCBD85-F179-4CAE-94FA-02D29450FF29}" dt="2021-11-25T16:20:51.127" v="187" actId="47"/>
        <pc:sldMkLst>
          <pc:docMk/>
          <pc:sldMk cId="1568714577" sldId="377"/>
        </pc:sldMkLst>
        <pc:spChg chg="del">
          <ac:chgData name="Marc Feldkirchner" userId="c4135e70-53ec-4cd4-a1bd-4ca908459c8c" providerId="ADAL" clId="{16CCBD85-F179-4CAE-94FA-02D29450FF29}" dt="2021-11-25T16:19:49.523" v="140" actId="700"/>
          <ac:spMkLst>
            <pc:docMk/>
            <pc:sldMk cId="1568714577" sldId="377"/>
            <ac:spMk id="2" creationId="{1FAF53C3-F96C-408F-877C-180D324166F6}"/>
          </ac:spMkLst>
        </pc:spChg>
        <pc:spChg chg="del mod ord">
          <ac:chgData name="Marc Feldkirchner" userId="c4135e70-53ec-4cd4-a1bd-4ca908459c8c" providerId="ADAL" clId="{16CCBD85-F179-4CAE-94FA-02D29450FF29}" dt="2021-11-25T16:19:49.523" v="140" actId="700"/>
          <ac:spMkLst>
            <pc:docMk/>
            <pc:sldMk cId="1568714577" sldId="377"/>
            <ac:spMk id="3" creationId="{AF3C2731-8977-4B69-86FF-969699303030}"/>
          </ac:spMkLst>
        </pc:spChg>
        <pc:spChg chg="del mod ord">
          <ac:chgData name="Marc Feldkirchner" userId="c4135e70-53ec-4cd4-a1bd-4ca908459c8c" providerId="ADAL" clId="{16CCBD85-F179-4CAE-94FA-02D29450FF29}" dt="2021-11-25T16:19:49.523" v="140" actId="700"/>
          <ac:spMkLst>
            <pc:docMk/>
            <pc:sldMk cId="1568714577" sldId="377"/>
            <ac:spMk id="4" creationId="{2E14F474-302B-4AFC-8C43-95003DA779D1}"/>
          </ac:spMkLst>
        </pc:spChg>
        <pc:spChg chg="add mod ord">
          <ac:chgData name="Marc Feldkirchner" userId="c4135e70-53ec-4cd4-a1bd-4ca908459c8c" providerId="ADAL" clId="{16CCBD85-F179-4CAE-94FA-02D29450FF29}" dt="2021-11-25T16:20:42.642" v="185" actId="700"/>
          <ac:spMkLst>
            <pc:docMk/>
            <pc:sldMk cId="1568714577" sldId="377"/>
            <ac:spMk id="5" creationId="{739D3F06-99D0-4042-8D11-1304878128FE}"/>
          </ac:spMkLst>
        </pc:spChg>
        <pc:spChg chg="add del mod ord">
          <ac:chgData name="Marc Feldkirchner" userId="c4135e70-53ec-4cd4-a1bd-4ca908459c8c" providerId="ADAL" clId="{16CCBD85-F179-4CAE-94FA-02D29450FF29}" dt="2021-11-25T16:19:52.361" v="141" actId="478"/>
          <ac:spMkLst>
            <pc:docMk/>
            <pc:sldMk cId="1568714577" sldId="377"/>
            <ac:spMk id="6" creationId="{0BD740EF-081D-4341-ACF9-3BA8562C3E50}"/>
          </ac:spMkLst>
        </pc:spChg>
        <pc:spChg chg="add mod ord">
          <ac:chgData name="Marc Feldkirchner" userId="c4135e70-53ec-4cd4-a1bd-4ca908459c8c" providerId="ADAL" clId="{16CCBD85-F179-4CAE-94FA-02D29450FF29}" dt="2021-11-25T16:20:42.642" v="185" actId="700"/>
          <ac:spMkLst>
            <pc:docMk/>
            <pc:sldMk cId="1568714577" sldId="377"/>
            <ac:spMk id="7" creationId="{12A05980-FD40-4F86-9F7E-BA59FDE8A56C}"/>
          </ac:spMkLst>
        </pc:spChg>
        <pc:spChg chg="add del mod ord">
          <ac:chgData name="Marc Feldkirchner" userId="c4135e70-53ec-4cd4-a1bd-4ca908459c8c" providerId="ADAL" clId="{16CCBD85-F179-4CAE-94FA-02D29450FF29}" dt="2021-11-25T16:20:20.962" v="183" actId="478"/>
          <ac:spMkLst>
            <pc:docMk/>
            <pc:sldMk cId="1568714577" sldId="377"/>
            <ac:spMk id="8" creationId="{A062541B-E078-4577-AB61-B74D6B5EAA16}"/>
          </ac:spMkLst>
        </pc:spChg>
        <pc:spChg chg="add del mod ord">
          <ac:chgData name="Marc Feldkirchner" userId="c4135e70-53ec-4cd4-a1bd-4ca908459c8c" providerId="ADAL" clId="{16CCBD85-F179-4CAE-94FA-02D29450FF29}" dt="2021-11-25T16:20:42.642" v="185" actId="700"/>
          <ac:spMkLst>
            <pc:docMk/>
            <pc:sldMk cId="1568714577" sldId="377"/>
            <ac:spMk id="9" creationId="{398C2E27-DBEE-4664-A156-A0A31D03EBA5}"/>
          </ac:spMkLst>
        </pc:spChg>
        <pc:spChg chg="add del mod ord">
          <ac:chgData name="Marc Feldkirchner" userId="c4135e70-53ec-4cd4-a1bd-4ca908459c8c" providerId="ADAL" clId="{16CCBD85-F179-4CAE-94FA-02D29450FF29}" dt="2021-11-25T16:20:42.642" v="185" actId="700"/>
          <ac:spMkLst>
            <pc:docMk/>
            <pc:sldMk cId="1568714577" sldId="377"/>
            <ac:spMk id="10" creationId="{57BAD265-379B-45B7-804A-2288FB314936}"/>
          </ac:spMkLst>
        </pc:spChg>
        <pc:spChg chg="add mod ord">
          <ac:chgData name="Marc Feldkirchner" userId="c4135e70-53ec-4cd4-a1bd-4ca908459c8c" providerId="ADAL" clId="{16CCBD85-F179-4CAE-94FA-02D29450FF29}" dt="2021-11-25T16:20:42.642" v="185" actId="700"/>
          <ac:spMkLst>
            <pc:docMk/>
            <pc:sldMk cId="1568714577" sldId="377"/>
            <ac:spMk id="11" creationId="{C152643D-D6DC-465F-BAF9-E85A94278CD7}"/>
          </ac:spMkLst>
        </pc:spChg>
      </pc:sldChg>
      <pc:sldChg chg="addSp delSp modSp new mod">
        <pc:chgData name="Marc Feldkirchner" userId="c4135e70-53ec-4cd4-a1bd-4ca908459c8c" providerId="ADAL" clId="{16CCBD85-F179-4CAE-94FA-02D29450FF29}" dt="2021-11-25T16:36:03.341" v="420" actId="113"/>
        <pc:sldMkLst>
          <pc:docMk/>
          <pc:sldMk cId="2497184076" sldId="378"/>
        </pc:sldMkLst>
        <pc:spChg chg="del">
          <ac:chgData name="Marc Feldkirchner" userId="c4135e70-53ec-4cd4-a1bd-4ca908459c8c" providerId="ADAL" clId="{16CCBD85-F179-4CAE-94FA-02D29450FF29}" dt="2021-11-25T16:21:05.094" v="216" actId="478"/>
          <ac:spMkLst>
            <pc:docMk/>
            <pc:sldMk cId="2497184076" sldId="378"/>
            <ac:spMk id="2" creationId="{0B227CD9-70EC-4BC5-9082-F4E2D4BCB31B}"/>
          </ac:spMkLst>
        </pc:spChg>
        <pc:spChg chg="mod">
          <ac:chgData name="Marc Feldkirchner" userId="c4135e70-53ec-4cd4-a1bd-4ca908459c8c" providerId="ADAL" clId="{16CCBD85-F179-4CAE-94FA-02D29450FF29}" dt="2021-11-25T16:21:01.554" v="215" actId="20577"/>
          <ac:spMkLst>
            <pc:docMk/>
            <pc:sldMk cId="2497184076" sldId="378"/>
            <ac:spMk id="4" creationId="{B2C9882B-435C-4959-AAA6-F27692243B46}"/>
          </ac:spMkLst>
        </pc:spChg>
        <pc:spChg chg="del">
          <ac:chgData name="Marc Feldkirchner" userId="c4135e70-53ec-4cd4-a1bd-4ca908459c8c" providerId="ADAL" clId="{16CCBD85-F179-4CAE-94FA-02D29450FF29}" dt="2021-11-25T16:21:07.401" v="217" actId="478"/>
          <ac:spMkLst>
            <pc:docMk/>
            <pc:sldMk cId="2497184076" sldId="378"/>
            <ac:spMk id="5" creationId="{E0418B13-6791-4B2C-84A5-869DF5B77C72}"/>
          </ac:spMkLst>
        </pc:spChg>
        <pc:spChg chg="mod">
          <ac:chgData name="Marc Feldkirchner" userId="c4135e70-53ec-4cd4-a1bd-4ca908459c8c" providerId="ADAL" clId="{16CCBD85-F179-4CAE-94FA-02D29450FF29}" dt="2021-11-25T16:20:54.736" v="197" actId="20577"/>
          <ac:spMkLst>
            <pc:docMk/>
            <pc:sldMk cId="2497184076" sldId="378"/>
            <ac:spMk id="6" creationId="{A9274C40-E085-4A80-ADFD-0A0BCEA441BC}"/>
          </ac:spMkLst>
        </pc:spChg>
        <pc:spChg chg="add mod topLvl">
          <ac:chgData name="Marc Feldkirchner" userId="c4135e70-53ec-4cd4-a1bd-4ca908459c8c" providerId="ADAL" clId="{16CCBD85-F179-4CAE-94FA-02D29450FF29}" dt="2021-11-25T16:35:23.696" v="412" actId="165"/>
          <ac:spMkLst>
            <pc:docMk/>
            <pc:sldMk cId="2497184076" sldId="378"/>
            <ac:spMk id="7" creationId="{F8A9BF32-9A1F-479C-A4A2-E822B340D0FB}"/>
          </ac:spMkLst>
        </pc:spChg>
        <pc:spChg chg="add mod topLvl">
          <ac:chgData name="Marc Feldkirchner" userId="c4135e70-53ec-4cd4-a1bd-4ca908459c8c" providerId="ADAL" clId="{16CCBD85-F179-4CAE-94FA-02D29450FF29}" dt="2021-11-25T16:35:28.459" v="413" actId="113"/>
          <ac:spMkLst>
            <pc:docMk/>
            <pc:sldMk cId="2497184076" sldId="378"/>
            <ac:spMk id="8" creationId="{6FC00559-51C7-40C0-93F5-65FA0D4F8CF4}"/>
          </ac:spMkLst>
        </pc:spChg>
        <pc:spChg chg="add mod topLvl">
          <ac:chgData name="Marc Feldkirchner" userId="c4135e70-53ec-4cd4-a1bd-4ca908459c8c" providerId="ADAL" clId="{16CCBD85-F179-4CAE-94FA-02D29450FF29}" dt="2021-11-25T16:35:23.696" v="412" actId="165"/>
          <ac:spMkLst>
            <pc:docMk/>
            <pc:sldMk cId="2497184076" sldId="378"/>
            <ac:spMk id="9" creationId="{69B90412-4391-4D30-B7D1-90258928F6EB}"/>
          </ac:spMkLst>
        </pc:spChg>
        <pc:spChg chg="add mod">
          <ac:chgData name="Marc Feldkirchner" userId="c4135e70-53ec-4cd4-a1bd-4ca908459c8c" providerId="ADAL" clId="{16CCBD85-F179-4CAE-94FA-02D29450FF29}" dt="2021-11-25T16:34:59.073" v="409" actId="1076"/>
          <ac:spMkLst>
            <pc:docMk/>
            <pc:sldMk cId="2497184076" sldId="378"/>
            <ac:spMk id="10" creationId="{7A141C31-F668-415A-B4AA-1AD8755ED907}"/>
          </ac:spMkLst>
        </pc:spChg>
        <pc:spChg chg="add del mod">
          <ac:chgData name="Marc Feldkirchner" userId="c4135e70-53ec-4cd4-a1bd-4ca908459c8c" providerId="ADAL" clId="{16CCBD85-F179-4CAE-94FA-02D29450FF29}" dt="2021-11-25T16:22:54.514" v="301" actId="478"/>
          <ac:spMkLst>
            <pc:docMk/>
            <pc:sldMk cId="2497184076" sldId="378"/>
            <ac:spMk id="11" creationId="{214BF1E9-E07E-40A7-940A-0E9C240C12B9}"/>
          </ac:spMkLst>
        </pc:spChg>
        <pc:spChg chg="add mod">
          <ac:chgData name="Marc Feldkirchner" userId="c4135e70-53ec-4cd4-a1bd-4ca908459c8c" providerId="ADAL" clId="{16CCBD85-F179-4CAE-94FA-02D29450FF29}" dt="2021-11-25T16:36:03.341" v="420" actId="113"/>
          <ac:spMkLst>
            <pc:docMk/>
            <pc:sldMk cId="2497184076" sldId="378"/>
            <ac:spMk id="13" creationId="{82C62855-B095-4A54-87E4-C5DD9E1F69F2}"/>
          </ac:spMkLst>
        </pc:spChg>
        <pc:grpChg chg="add del mod">
          <ac:chgData name="Marc Feldkirchner" userId="c4135e70-53ec-4cd4-a1bd-4ca908459c8c" providerId="ADAL" clId="{16CCBD85-F179-4CAE-94FA-02D29450FF29}" dt="2021-11-25T16:35:23.696" v="412" actId="165"/>
          <ac:grpSpMkLst>
            <pc:docMk/>
            <pc:sldMk cId="2497184076" sldId="378"/>
            <ac:grpSpMk id="12" creationId="{810DE27D-6554-4ACB-A74F-1FC88EB7BA77}"/>
          </ac:grpSpMkLst>
        </pc:grpChg>
      </pc:sldChg>
      <pc:sldChg chg="addSp delSp modSp add mod">
        <pc:chgData name="Marc Feldkirchner" userId="c4135e70-53ec-4cd4-a1bd-4ca908459c8c" providerId="ADAL" clId="{16CCBD85-F179-4CAE-94FA-02D29450FF29}" dt="2021-11-25T17:00:05.317" v="824"/>
        <pc:sldMkLst>
          <pc:docMk/>
          <pc:sldMk cId="941330492" sldId="379"/>
        </pc:sldMkLst>
        <pc:spChg chg="add mod">
          <ac:chgData name="Marc Feldkirchner" userId="c4135e70-53ec-4cd4-a1bd-4ca908459c8c" providerId="ADAL" clId="{16CCBD85-F179-4CAE-94FA-02D29450FF29}" dt="2021-11-25T16:58:07.187" v="802" actId="207"/>
          <ac:spMkLst>
            <pc:docMk/>
            <pc:sldMk cId="941330492" sldId="379"/>
            <ac:spMk id="2" creationId="{BBF08E8E-964B-4DAE-BD80-34ECA5816C93}"/>
          </ac:spMkLst>
        </pc:spChg>
        <pc:spChg chg="add mod">
          <ac:chgData name="Marc Feldkirchner" userId="c4135e70-53ec-4cd4-a1bd-4ca908459c8c" providerId="ADAL" clId="{16CCBD85-F179-4CAE-94FA-02D29450FF29}" dt="2021-11-25T16:58:20.977" v="805" actId="20577"/>
          <ac:spMkLst>
            <pc:docMk/>
            <pc:sldMk cId="941330492" sldId="379"/>
            <ac:spMk id="5" creationId="{FC749C7A-50AF-4D14-8905-F32AB45E9596}"/>
          </ac:spMkLst>
        </pc:spChg>
        <pc:spChg chg="mod">
          <ac:chgData name="Marc Feldkirchner" userId="c4135e70-53ec-4cd4-a1bd-4ca908459c8c" providerId="ADAL" clId="{16CCBD85-F179-4CAE-94FA-02D29450FF29}" dt="2021-11-25T16:50:13.940" v="603" actId="20577"/>
          <ac:spMkLst>
            <pc:docMk/>
            <pc:sldMk cId="941330492" sldId="379"/>
            <ac:spMk id="6" creationId="{A9274C40-E085-4A80-ADFD-0A0BCEA441BC}"/>
          </ac:spMkLst>
        </pc:spChg>
        <pc:spChg chg="add del mod">
          <ac:chgData name="Marc Feldkirchner" userId="c4135e70-53ec-4cd4-a1bd-4ca908459c8c" providerId="ADAL" clId="{16CCBD85-F179-4CAE-94FA-02D29450FF29}" dt="2021-11-25T16:46:16.254" v="537" actId="478"/>
          <ac:spMkLst>
            <pc:docMk/>
            <pc:sldMk cId="941330492" sldId="379"/>
            <ac:spMk id="7" creationId="{604B2638-D425-4CFD-B65D-C18DCAE33FDF}"/>
          </ac:spMkLst>
        </pc:spChg>
        <pc:spChg chg="add del mod">
          <ac:chgData name="Marc Feldkirchner" userId="c4135e70-53ec-4cd4-a1bd-4ca908459c8c" providerId="ADAL" clId="{16CCBD85-F179-4CAE-94FA-02D29450FF29}" dt="2021-11-25T16:46:16.254" v="537" actId="478"/>
          <ac:spMkLst>
            <pc:docMk/>
            <pc:sldMk cId="941330492" sldId="379"/>
            <ac:spMk id="8" creationId="{9692419D-21C9-4FB3-8DDA-BC5CB0B426D3}"/>
          </ac:spMkLst>
        </pc:spChg>
        <pc:spChg chg="add del mod">
          <ac:chgData name="Marc Feldkirchner" userId="c4135e70-53ec-4cd4-a1bd-4ca908459c8c" providerId="ADAL" clId="{16CCBD85-F179-4CAE-94FA-02D29450FF29}" dt="2021-11-25T16:46:16.254" v="537" actId="478"/>
          <ac:spMkLst>
            <pc:docMk/>
            <pc:sldMk cId="941330492" sldId="379"/>
            <ac:spMk id="9" creationId="{7D5AE716-7E86-4F20-8172-45615B84BA11}"/>
          </ac:spMkLst>
        </pc:spChg>
        <pc:spChg chg="add del mod">
          <ac:chgData name="Marc Feldkirchner" userId="c4135e70-53ec-4cd4-a1bd-4ca908459c8c" providerId="ADAL" clId="{16CCBD85-F179-4CAE-94FA-02D29450FF29}" dt="2021-11-25T16:46:16.254" v="537" actId="478"/>
          <ac:spMkLst>
            <pc:docMk/>
            <pc:sldMk cId="941330492" sldId="379"/>
            <ac:spMk id="10" creationId="{D388226E-3E58-43B4-999E-28EAA8E71723}"/>
          </ac:spMkLst>
        </pc:spChg>
        <pc:spChg chg="add del mod">
          <ac:chgData name="Marc Feldkirchner" userId="c4135e70-53ec-4cd4-a1bd-4ca908459c8c" providerId="ADAL" clId="{16CCBD85-F179-4CAE-94FA-02D29450FF29}" dt="2021-11-25T16:39:21.311" v="475" actId="478"/>
          <ac:spMkLst>
            <pc:docMk/>
            <pc:sldMk cId="941330492" sldId="379"/>
            <ac:spMk id="11" creationId="{04FCF8D9-9284-49AD-9F47-C0224EFDB361}"/>
          </ac:spMkLst>
        </pc:spChg>
        <pc:spChg chg="add mod">
          <ac:chgData name="Marc Feldkirchner" userId="c4135e70-53ec-4cd4-a1bd-4ca908459c8c" providerId="ADAL" clId="{16CCBD85-F179-4CAE-94FA-02D29450FF29}" dt="2021-11-25T16:59:10.740" v="817" actId="207"/>
          <ac:spMkLst>
            <pc:docMk/>
            <pc:sldMk cId="941330492" sldId="379"/>
            <ac:spMk id="12" creationId="{23060116-439C-4F92-91A6-51953D835258}"/>
          </ac:spMkLst>
        </pc:spChg>
        <pc:spChg chg="add mod">
          <ac:chgData name="Marc Feldkirchner" userId="c4135e70-53ec-4cd4-a1bd-4ca908459c8c" providerId="ADAL" clId="{16CCBD85-F179-4CAE-94FA-02D29450FF29}" dt="2021-11-25T16:59:23.331" v="819" actId="207"/>
          <ac:spMkLst>
            <pc:docMk/>
            <pc:sldMk cId="941330492" sldId="379"/>
            <ac:spMk id="13" creationId="{0BF4BDD5-4947-40C6-BB83-1269181F2508}"/>
          </ac:spMkLst>
        </pc:spChg>
        <pc:spChg chg="add mod">
          <ac:chgData name="Marc Feldkirchner" userId="c4135e70-53ec-4cd4-a1bd-4ca908459c8c" providerId="ADAL" clId="{16CCBD85-F179-4CAE-94FA-02D29450FF29}" dt="2021-11-25T16:51:43.432" v="666" actId="1036"/>
          <ac:spMkLst>
            <pc:docMk/>
            <pc:sldMk cId="941330492" sldId="379"/>
            <ac:spMk id="14" creationId="{87F51B93-1C12-4868-A6EC-CC179B953CA5}"/>
          </ac:spMkLst>
        </pc:spChg>
        <pc:spChg chg="add mod">
          <ac:chgData name="Marc Feldkirchner" userId="c4135e70-53ec-4cd4-a1bd-4ca908459c8c" providerId="ADAL" clId="{16CCBD85-F179-4CAE-94FA-02D29450FF29}" dt="2021-11-25T16:59:54.223" v="822" actId="207"/>
          <ac:spMkLst>
            <pc:docMk/>
            <pc:sldMk cId="941330492" sldId="379"/>
            <ac:spMk id="15" creationId="{C6DD6111-757B-48AB-9961-8813AFE74ABD}"/>
          </ac:spMkLst>
        </pc:spChg>
        <pc:spChg chg="add mod">
          <ac:chgData name="Marc Feldkirchner" userId="c4135e70-53ec-4cd4-a1bd-4ca908459c8c" providerId="ADAL" clId="{16CCBD85-F179-4CAE-94FA-02D29450FF29}" dt="2021-11-25T16:51:43.432" v="666" actId="1036"/>
          <ac:spMkLst>
            <pc:docMk/>
            <pc:sldMk cId="941330492" sldId="379"/>
            <ac:spMk id="16" creationId="{E4BC8FEE-B4C1-4BF4-9C29-96CBAEF4E0F7}"/>
          </ac:spMkLst>
        </pc:spChg>
        <pc:spChg chg="add del mod">
          <ac:chgData name="Marc Feldkirchner" userId="c4135e70-53ec-4cd4-a1bd-4ca908459c8c" providerId="ADAL" clId="{16CCBD85-F179-4CAE-94FA-02D29450FF29}" dt="2021-11-25T16:47:45.416" v="570" actId="478"/>
          <ac:spMkLst>
            <pc:docMk/>
            <pc:sldMk cId="941330492" sldId="379"/>
            <ac:spMk id="17" creationId="{E06E7552-0A00-4667-B7D3-16196C11FD2B}"/>
          </ac:spMkLst>
        </pc:spChg>
        <pc:spChg chg="add del mod">
          <ac:chgData name="Marc Feldkirchner" userId="c4135e70-53ec-4cd4-a1bd-4ca908459c8c" providerId="ADAL" clId="{16CCBD85-F179-4CAE-94FA-02D29450FF29}" dt="2021-11-25T16:47:45.416" v="570" actId="478"/>
          <ac:spMkLst>
            <pc:docMk/>
            <pc:sldMk cId="941330492" sldId="379"/>
            <ac:spMk id="18" creationId="{DE296650-4418-4C38-873E-0398A079087A}"/>
          </ac:spMkLst>
        </pc:spChg>
        <pc:spChg chg="add mod">
          <ac:chgData name="Marc Feldkirchner" userId="c4135e70-53ec-4cd4-a1bd-4ca908459c8c" providerId="ADAL" clId="{16CCBD85-F179-4CAE-94FA-02D29450FF29}" dt="2021-11-25T16:58:50.083" v="813" actId="207"/>
          <ac:spMkLst>
            <pc:docMk/>
            <pc:sldMk cId="941330492" sldId="379"/>
            <ac:spMk id="19" creationId="{076B3D28-B011-42A7-B81D-F07DF7BA339C}"/>
          </ac:spMkLst>
        </pc:spChg>
        <pc:spChg chg="add mod">
          <ac:chgData name="Marc Feldkirchner" userId="c4135e70-53ec-4cd4-a1bd-4ca908459c8c" providerId="ADAL" clId="{16CCBD85-F179-4CAE-94FA-02D29450FF29}" dt="2021-11-25T16:59:00.136" v="815" actId="207"/>
          <ac:spMkLst>
            <pc:docMk/>
            <pc:sldMk cId="941330492" sldId="379"/>
            <ac:spMk id="20" creationId="{01EFA1C3-1830-472E-9DBC-03A116C455DA}"/>
          </ac:spMkLst>
        </pc:spChg>
        <pc:spChg chg="add mod">
          <ac:chgData name="Marc Feldkirchner" userId="c4135e70-53ec-4cd4-a1bd-4ca908459c8c" providerId="ADAL" clId="{16CCBD85-F179-4CAE-94FA-02D29450FF29}" dt="2021-11-25T16:58:51.536" v="814"/>
          <ac:spMkLst>
            <pc:docMk/>
            <pc:sldMk cId="941330492" sldId="379"/>
            <ac:spMk id="21" creationId="{8E6D8DA8-99CA-490B-B542-6535EE2035E5}"/>
          </ac:spMkLst>
        </pc:spChg>
        <pc:spChg chg="add mod">
          <ac:chgData name="Marc Feldkirchner" userId="c4135e70-53ec-4cd4-a1bd-4ca908459c8c" providerId="ADAL" clId="{16CCBD85-F179-4CAE-94FA-02D29450FF29}" dt="2021-11-25T16:59:01.754" v="816"/>
          <ac:spMkLst>
            <pc:docMk/>
            <pc:sldMk cId="941330492" sldId="379"/>
            <ac:spMk id="22" creationId="{1BCE3D12-DE74-423F-81E4-67C2E4F6854E}"/>
          </ac:spMkLst>
        </pc:spChg>
        <pc:spChg chg="add del mod">
          <ac:chgData name="Marc Feldkirchner" userId="c4135e70-53ec-4cd4-a1bd-4ca908459c8c" providerId="ADAL" clId="{16CCBD85-F179-4CAE-94FA-02D29450FF29}" dt="2021-11-25T16:53:05.837" v="690" actId="478"/>
          <ac:spMkLst>
            <pc:docMk/>
            <pc:sldMk cId="941330492" sldId="379"/>
            <ac:spMk id="23" creationId="{D62AF080-E06F-4E4C-838E-2DFA3990C3BE}"/>
          </ac:spMkLst>
        </pc:spChg>
        <pc:spChg chg="add del mod">
          <ac:chgData name="Marc Feldkirchner" userId="c4135e70-53ec-4cd4-a1bd-4ca908459c8c" providerId="ADAL" clId="{16CCBD85-F179-4CAE-94FA-02D29450FF29}" dt="2021-11-25T16:53:08.020" v="691" actId="478"/>
          <ac:spMkLst>
            <pc:docMk/>
            <pc:sldMk cId="941330492" sldId="379"/>
            <ac:spMk id="24" creationId="{E62D5D66-1A19-41F6-8F9C-A09B063819DD}"/>
          </ac:spMkLst>
        </pc:spChg>
        <pc:spChg chg="add mod">
          <ac:chgData name="Marc Feldkirchner" userId="c4135e70-53ec-4cd4-a1bd-4ca908459c8c" providerId="ADAL" clId="{16CCBD85-F179-4CAE-94FA-02D29450FF29}" dt="2021-11-25T16:59:12.675" v="818"/>
          <ac:spMkLst>
            <pc:docMk/>
            <pc:sldMk cId="941330492" sldId="379"/>
            <ac:spMk id="25" creationId="{51F136B8-4740-4548-A9BC-6F6841EECD9B}"/>
          </ac:spMkLst>
        </pc:spChg>
        <pc:spChg chg="add mod">
          <ac:chgData name="Marc Feldkirchner" userId="c4135e70-53ec-4cd4-a1bd-4ca908459c8c" providerId="ADAL" clId="{16CCBD85-F179-4CAE-94FA-02D29450FF29}" dt="2021-11-25T16:59:25.936" v="820"/>
          <ac:spMkLst>
            <pc:docMk/>
            <pc:sldMk cId="941330492" sldId="379"/>
            <ac:spMk id="26" creationId="{5D025722-BE9A-43FD-AD5A-4FA8483124CB}"/>
          </ac:spMkLst>
        </pc:spChg>
        <pc:spChg chg="add mod">
          <ac:chgData name="Marc Feldkirchner" userId="c4135e70-53ec-4cd4-a1bd-4ca908459c8c" providerId="ADAL" clId="{16CCBD85-F179-4CAE-94FA-02D29450FF29}" dt="2021-11-25T16:59:44.528" v="821"/>
          <ac:spMkLst>
            <pc:docMk/>
            <pc:sldMk cId="941330492" sldId="379"/>
            <ac:spMk id="27" creationId="{303BED29-0F9B-4EC4-B799-1AAA0D8BE4D8}"/>
          </ac:spMkLst>
        </pc:spChg>
        <pc:spChg chg="add mod">
          <ac:chgData name="Marc Feldkirchner" userId="c4135e70-53ec-4cd4-a1bd-4ca908459c8c" providerId="ADAL" clId="{16CCBD85-F179-4CAE-94FA-02D29450FF29}" dt="2021-11-25T16:59:56.079" v="823"/>
          <ac:spMkLst>
            <pc:docMk/>
            <pc:sldMk cId="941330492" sldId="379"/>
            <ac:spMk id="28" creationId="{455EF3D8-3FBC-4197-96C2-B54CCCD98304}"/>
          </ac:spMkLst>
        </pc:spChg>
        <pc:spChg chg="add del mod">
          <ac:chgData name="Marc Feldkirchner" userId="c4135e70-53ec-4cd4-a1bd-4ca908459c8c" providerId="ADAL" clId="{16CCBD85-F179-4CAE-94FA-02D29450FF29}" dt="2021-11-25T16:53:26.313" v="697"/>
          <ac:spMkLst>
            <pc:docMk/>
            <pc:sldMk cId="941330492" sldId="379"/>
            <ac:spMk id="29" creationId="{BF46C612-46FE-4260-9168-7D2B1CA8F8AE}"/>
          </ac:spMkLst>
        </pc:spChg>
        <pc:spChg chg="add del mod">
          <ac:chgData name="Marc Feldkirchner" userId="c4135e70-53ec-4cd4-a1bd-4ca908459c8c" providerId="ADAL" clId="{16CCBD85-F179-4CAE-94FA-02D29450FF29}" dt="2021-11-25T16:53:26.313" v="697"/>
          <ac:spMkLst>
            <pc:docMk/>
            <pc:sldMk cId="941330492" sldId="379"/>
            <ac:spMk id="30" creationId="{9A87FA1A-FD2C-4DF2-964A-D4A810E2F590}"/>
          </ac:spMkLst>
        </pc:spChg>
        <pc:spChg chg="add mod">
          <ac:chgData name="Marc Feldkirchner" userId="c4135e70-53ec-4cd4-a1bd-4ca908459c8c" providerId="ADAL" clId="{16CCBD85-F179-4CAE-94FA-02D29450FF29}" dt="2021-11-25T17:00:05.317" v="824"/>
          <ac:spMkLst>
            <pc:docMk/>
            <pc:sldMk cId="941330492" sldId="379"/>
            <ac:spMk id="31" creationId="{1374F7C0-8DE1-418D-90F7-11A0F79DBC5E}"/>
          </ac:spMkLst>
        </pc:spChg>
      </pc:sldChg>
      <pc:sldChg chg="add del">
        <pc:chgData name="Marc Feldkirchner" userId="c4135e70-53ec-4cd4-a1bd-4ca908459c8c" providerId="ADAL" clId="{16CCBD85-F179-4CAE-94FA-02D29450FF29}" dt="2021-11-25T17:00:18.264" v="825" actId="47"/>
        <pc:sldMkLst>
          <pc:docMk/>
          <pc:sldMk cId="1947413665" sldId="380"/>
        </pc:sldMkLst>
      </pc:sldChg>
      <pc:sldChg chg="addSp delSp modSp add del mod">
        <pc:chgData name="Marc Feldkirchner" userId="c4135e70-53ec-4cd4-a1bd-4ca908459c8c" providerId="ADAL" clId="{16CCBD85-F179-4CAE-94FA-02D29450FF29}" dt="2021-11-25T16:50:27.008" v="606" actId="47"/>
        <pc:sldMkLst>
          <pc:docMk/>
          <pc:sldMk cId="3194232387" sldId="381"/>
        </pc:sldMkLst>
        <pc:spChg chg="mod">
          <ac:chgData name="Marc Feldkirchner" userId="c4135e70-53ec-4cd4-a1bd-4ca908459c8c" providerId="ADAL" clId="{16CCBD85-F179-4CAE-94FA-02D29450FF29}" dt="2021-11-25T16:49:36.359" v="592" actId="207"/>
          <ac:spMkLst>
            <pc:docMk/>
            <pc:sldMk cId="3194232387" sldId="381"/>
            <ac:spMk id="2" creationId="{BBF08E8E-964B-4DAE-BD80-34ECA5816C93}"/>
          </ac:spMkLst>
        </pc:spChg>
        <pc:spChg chg="mod">
          <ac:chgData name="Marc Feldkirchner" userId="c4135e70-53ec-4cd4-a1bd-4ca908459c8c" providerId="ADAL" clId="{16CCBD85-F179-4CAE-94FA-02D29450FF29}" dt="2021-11-25T16:48:22.941" v="589" actId="20577"/>
          <ac:spMkLst>
            <pc:docMk/>
            <pc:sldMk cId="3194232387" sldId="381"/>
            <ac:spMk id="6" creationId="{A9274C40-E085-4A80-ADFD-0A0BCEA441BC}"/>
          </ac:spMkLst>
        </pc:spChg>
        <pc:spChg chg="add mod">
          <ac:chgData name="Marc Feldkirchner" userId="c4135e70-53ec-4cd4-a1bd-4ca908459c8c" providerId="ADAL" clId="{16CCBD85-F179-4CAE-94FA-02D29450FF29}" dt="2021-11-25T16:49:39.404" v="593" actId="207"/>
          <ac:spMkLst>
            <pc:docMk/>
            <pc:sldMk cId="3194232387" sldId="381"/>
            <ac:spMk id="11" creationId="{CA62A399-8167-4685-991C-44FCF6AD8B69}"/>
          </ac:spMkLst>
        </pc:spChg>
        <pc:spChg chg="del mod">
          <ac:chgData name="Marc Feldkirchner" userId="c4135e70-53ec-4cd4-a1bd-4ca908459c8c" providerId="ADAL" clId="{16CCBD85-F179-4CAE-94FA-02D29450FF29}" dt="2021-11-25T16:49:58.034" v="595" actId="478"/>
          <ac:spMkLst>
            <pc:docMk/>
            <pc:sldMk cId="3194232387" sldId="381"/>
            <ac:spMk id="12" creationId="{23060116-439C-4F92-91A6-51953D835258}"/>
          </ac:spMkLst>
        </pc:spChg>
        <pc:spChg chg="del">
          <ac:chgData name="Marc Feldkirchner" userId="c4135e70-53ec-4cd4-a1bd-4ca908459c8c" providerId="ADAL" clId="{16CCBD85-F179-4CAE-94FA-02D29450FF29}" dt="2021-11-25T16:49:58.034" v="595" actId="478"/>
          <ac:spMkLst>
            <pc:docMk/>
            <pc:sldMk cId="3194232387" sldId="381"/>
            <ac:spMk id="13" creationId="{0BF4BDD5-4947-40C6-BB83-1269181F2508}"/>
          </ac:spMkLst>
        </pc:spChg>
        <pc:spChg chg="del">
          <ac:chgData name="Marc Feldkirchner" userId="c4135e70-53ec-4cd4-a1bd-4ca908459c8c" providerId="ADAL" clId="{16CCBD85-F179-4CAE-94FA-02D29450FF29}" dt="2021-11-25T16:49:58.034" v="595" actId="478"/>
          <ac:spMkLst>
            <pc:docMk/>
            <pc:sldMk cId="3194232387" sldId="381"/>
            <ac:spMk id="14" creationId="{87F51B93-1C12-4868-A6EC-CC179B953CA5}"/>
          </ac:spMkLst>
        </pc:spChg>
        <pc:spChg chg="del">
          <ac:chgData name="Marc Feldkirchner" userId="c4135e70-53ec-4cd4-a1bd-4ca908459c8c" providerId="ADAL" clId="{16CCBD85-F179-4CAE-94FA-02D29450FF29}" dt="2021-11-25T16:49:58.034" v="595" actId="478"/>
          <ac:spMkLst>
            <pc:docMk/>
            <pc:sldMk cId="3194232387" sldId="381"/>
            <ac:spMk id="15" creationId="{C6DD6111-757B-48AB-9961-8813AFE74ABD}"/>
          </ac:spMkLst>
        </pc:spChg>
        <pc:spChg chg="del">
          <ac:chgData name="Marc Feldkirchner" userId="c4135e70-53ec-4cd4-a1bd-4ca908459c8c" providerId="ADAL" clId="{16CCBD85-F179-4CAE-94FA-02D29450FF29}" dt="2021-11-25T16:49:58.034" v="595" actId="478"/>
          <ac:spMkLst>
            <pc:docMk/>
            <pc:sldMk cId="3194232387" sldId="381"/>
            <ac:spMk id="16" creationId="{E4BC8FEE-B4C1-4BF4-9C29-96CBAEF4E0F7}"/>
          </ac:spMkLst>
        </pc:spChg>
      </pc:sldChg>
      <pc:sldMasterChg chg="addSldLayout modSldLayout">
        <pc:chgData name="Marc Feldkirchner" userId="c4135e70-53ec-4cd4-a1bd-4ca908459c8c" providerId="ADAL" clId="{16CCBD85-F179-4CAE-94FA-02D29450FF29}" dt="2021-11-25T16:26:32.886" v="372" actId="14100"/>
        <pc:sldMasterMkLst>
          <pc:docMk/>
          <pc:sldMasterMk cId="4171192528" sldId="2147483648"/>
        </pc:sldMasterMkLst>
        <pc:sldLayoutChg chg="modSp">
          <pc:chgData name="Marc Feldkirchner" userId="c4135e70-53ec-4cd4-a1bd-4ca908459c8c" providerId="ADAL" clId="{16CCBD85-F179-4CAE-94FA-02D29450FF29}" dt="2021-11-25T16:23:36.996" v="307" actId="255"/>
          <pc:sldLayoutMkLst>
            <pc:docMk/>
            <pc:sldMasterMk cId="4171192528" sldId="2147483648"/>
            <pc:sldLayoutMk cId="1633053589" sldId="2147483660"/>
          </pc:sldLayoutMkLst>
          <pc:spChg chg="mod">
            <ac:chgData name="Marc Feldkirchner" userId="c4135e70-53ec-4cd4-a1bd-4ca908459c8c" providerId="ADAL" clId="{16CCBD85-F179-4CAE-94FA-02D29450FF29}" dt="2021-11-25T16:23:36.996" v="307" actId="255"/>
            <ac:spMkLst>
              <pc:docMk/>
              <pc:sldMasterMk cId="4171192528" sldId="2147483648"/>
              <pc:sldLayoutMk cId="1633053589" sldId="2147483660"/>
              <ac:spMk id="2" creationId="{954EE93F-0761-45C0-94F2-7FB72E74DE69}"/>
            </ac:spMkLst>
          </pc:spChg>
        </pc:sldLayoutChg>
        <pc:sldLayoutChg chg="modSp">
          <pc:chgData name="Marc Feldkirchner" userId="c4135e70-53ec-4cd4-a1bd-4ca908459c8c" providerId="ADAL" clId="{16CCBD85-F179-4CAE-94FA-02D29450FF29}" dt="2021-11-25T16:23:59.501" v="309" actId="403"/>
          <pc:sldLayoutMkLst>
            <pc:docMk/>
            <pc:sldMasterMk cId="4171192528" sldId="2147483648"/>
            <pc:sldLayoutMk cId="2838075522" sldId="2147483677"/>
          </pc:sldLayoutMkLst>
          <pc:spChg chg="mod">
            <ac:chgData name="Marc Feldkirchner" userId="c4135e70-53ec-4cd4-a1bd-4ca908459c8c" providerId="ADAL" clId="{16CCBD85-F179-4CAE-94FA-02D29450FF29}" dt="2021-11-25T16:23:59.501" v="309" actId="403"/>
            <ac:spMkLst>
              <pc:docMk/>
              <pc:sldMasterMk cId="4171192528" sldId="2147483648"/>
              <pc:sldLayoutMk cId="2838075522" sldId="2147483677"/>
              <ac:spMk id="3" creationId="{11C81000-22A3-4CC7-8EE3-44617E065908}"/>
            </ac:spMkLst>
          </pc:spChg>
        </pc:sldLayoutChg>
        <pc:sldLayoutChg chg="modSp">
          <pc:chgData name="Marc Feldkirchner" userId="c4135e70-53ec-4cd4-a1bd-4ca908459c8c" providerId="ADAL" clId="{16CCBD85-F179-4CAE-94FA-02D29450FF29}" dt="2021-11-25T16:24:08.719" v="311" actId="403"/>
          <pc:sldLayoutMkLst>
            <pc:docMk/>
            <pc:sldMasterMk cId="4171192528" sldId="2147483648"/>
            <pc:sldLayoutMk cId="4124328936" sldId="2147483678"/>
          </pc:sldLayoutMkLst>
          <pc:spChg chg="mod">
            <ac:chgData name="Marc Feldkirchner" userId="c4135e70-53ec-4cd4-a1bd-4ca908459c8c" providerId="ADAL" clId="{16CCBD85-F179-4CAE-94FA-02D29450FF29}" dt="2021-11-25T16:24:08.719" v="311" actId="403"/>
            <ac:spMkLst>
              <pc:docMk/>
              <pc:sldMasterMk cId="4171192528" sldId="2147483648"/>
              <pc:sldLayoutMk cId="4124328936" sldId="2147483678"/>
              <ac:spMk id="2" creationId="{6D21FE69-C171-47F5-9D7A-8F2E85637E53}"/>
            </ac:spMkLst>
          </pc:spChg>
        </pc:sldLayoutChg>
        <pc:sldLayoutChg chg="modSp">
          <pc:chgData name="Marc Feldkirchner" userId="c4135e70-53ec-4cd4-a1bd-4ca908459c8c" providerId="ADAL" clId="{16CCBD85-F179-4CAE-94FA-02D29450FF29}" dt="2021-11-25T16:24:04.434" v="310" actId="403"/>
          <pc:sldLayoutMkLst>
            <pc:docMk/>
            <pc:sldMasterMk cId="4171192528" sldId="2147483648"/>
            <pc:sldLayoutMk cId="197050338" sldId="2147483680"/>
          </pc:sldLayoutMkLst>
          <pc:spChg chg="mod">
            <ac:chgData name="Marc Feldkirchner" userId="c4135e70-53ec-4cd4-a1bd-4ca908459c8c" providerId="ADAL" clId="{16CCBD85-F179-4CAE-94FA-02D29450FF29}" dt="2021-11-25T16:24:04.434" v="310" actId="403"/>
            <ac:spMkLst>
              <pc:docMk/>
              <pc:sldMasterMk cId="4171192528" sldId="2147483648"/>
              <pc:sldLayoutMk cId="197050338" sldId="2147483680"/>
              <ac:spMk id="2" creationId="{C726C2D1-5259-462C-90C5-E59A854275CC}"/>
            </ac:spMkLst>
          </pc:spChg>
        </pc:sldLayoutChg>
        <pc:sldLayoutChg chg="modSp">
          <pc:chgData name="Marc Feldkirchner" userId="c4135e70-53ec-4cd4-a1bd-4ca908459c8c" providerId="ADAL" clId="{16CCBD85-F179-4CAE-94FA-02D29450FF29}" dt="2021-11-25T16:24:16.125" v="312" actId="403"/>
          <pc:sldLayoutMkLst>
            <pc:docMk/>
            <pc:sldMasterMk cId="4171192528" sldId="2147483648"/>
            <pc:sldLayoutMk cId="1982309668" sldId="2147483682"/>
          </pc:sldLayoutMkLst>
          <pc:spChg chg="mod">
            <ac:chgData name="Marc Feldkirchner" userId="c4135e70-53ec-4cd4-a1bd-4ca908459c8c" providerId="ADAL" clId="{16CCBD85-F179-4CAE-94FA-02D29450FF29}" dt="2021-11-25T16:24:16.125" v="312" actId="403"/>
            <ac:spMkLst>
              <pc:docMk/>
              <pc:sldMasterMk cId="4171192528" sldId="2147483648"/>
              <pc:sldLayoutMk cId="1982309668" sldId="2147483682"/>
              <ac:spMk id="3" creationId="{11C81000-22A3-4CC7-8EE3-44617E065908}"/>
            </ac:spMkLst>
          </pc:spChg>
        </pc:sldLayoutChg>
        <pc:sldLayoutChg chg="modSp">
          <pc:chgData name="Marc Feldkirchner" userId="c4135e70-53ec-4cd4-a1bd-4ca908459c8c" providerId="ADAL" clId="{16CCBD85-F179-4CAE-94FA-02D29450FF29}" dt="2021-11-25T16:24:19.659" v="313" actId="403"/>
          <pc:sldLayoutMkLst>
            <pc:docMk/>
            <pc:sldMasterMk cId="4171192528" sldId="2147483648"/>
            <pc:sldLayoutMk cId="4032948918" sldId="2147483683"/>
          </pc:sldLayoutMkLst>
          <pc:spChg chg="mod">
            <ac:chgData name="Marc Feldkirchner" userId="c4135e70-53ec-4cd4-a1bd-4ca908459c8c" providerId="ADAL" clId="{16CCBD85-F179-4CAE-94FA-02D29450FF29}" dt="2021-11-25T16:24:19.659" v="313" actId="403"/>
            <ac:spMkLst>
              <pc:docMk/>
              <pc:sldMasterMk cId="4171192528" sldId="2147483648"/>
              <pc:sldLayoutMk cId="4032948918" sldId="2147483683"/>
              <ac:spMk id="3" creationId="{11C81000-22A3-4CC7-8EE3-44617E065908}"/>
            </ac:spMkLst>
          </pc:spChg>
        </pc:sldLayoutChg>
        <pc:sldLayoutChg chg="modSp">
          <pc:chgData name="Marc Feldkirchner" userId="c4135e70-53ec-4cd4-a1bd-4ca908459c8c" providerId="ADAL" clId="{16CCBD85-F179-4CAE-94FA-02D29450FF29}" dt="2021-11-25T16:24:24.767" v="314" actId="403"/>
          <pc:sldLayoutMkLst>
            <pc:docMk/>
            <pc:sldMasterMk cId="4171192528" sldId="2147483648"/>
            <pc:sldLayoutMk cId="353346136" sldId="2147483684"/>
          </pc:sldLayoutMkLst>
          <pc:spChg chg="mod">
            <ac:chgData name="Marc Feldkirchner" userId="c4135e70-53ec-4cd4-a1bd-4ca908459c8c" providerId="ADAL" clId="{16CCBD85-F179-4CAE-94FA-02D29450FF29}" dt="2021-11-25T16:24:24.767" v="314" actId="403"/>
            <ac:spMkLst>
              <pc:docMk/>
              <pc:sldMasterMk cId="4171192528" sldId="2147483648"/>
              <pc:sldLayoutMk cId="353346136" sldId="2147483684"/>
              <ac:spMk id="2" creationId="{1D45CE21-274C-4DBE-8427-F5CF2C647C1C}"/>
            </ac:spMkLst>
          </pc:spChg>
        </pc:sldLayoutChg>
        <pc:sldLayoutChg chg="modSp">
          <pc:chgData name="Marc Feldkirchner" userId="c4135e70-53ec-4cd4-a1bd-4ca908459c8c" providerId="ADAL" clId="{16CCBD85-F179-4CAE-94FA-02D29450FF29}" dt="2021-11-25T16:24:34.206" v="315" actId="403"/>
          <pc:sldLayoutMkLst>
            <pc:docMk/>
            <pc:sldMasterMk cId="4171192528" sldId="2147483648"/>
            <pc:sldLayoutMk cId="3478393784" sldId="2147483685"/>
          </pc:sldLayoutMkLst>
          <pc:spChg chg="mod">
            <ac:chgData name="Marc Feldkirchner" userId="c4135e70-53ec-4cd4-a1bd-4ca908459c8c" providerId="ADAL" clId="{16CCBD85-F179-4CAE-94FA-02D29450FF29}" dt="2021-11-25T16:24:34.206" v="315" actId="403"/>
            <ac:spMkLst>
              <pc:docMk/>
              <pc:sldMasterMk cId="4171192528" sldId="2147483648"/>
              <pc:sldLayoutMk cId="3478393784" sldId="2147483685"/>
              <ac:spMk id="2" creationId="{CB138F73-8805-45B0-B5F3-713B56BDED4B}"/>
            </ac:spMkLst>
          </pc:spChg>
        </pc:sldLayoutChg>
        <pc:sldLayoutChg chg="modSp">
          <pc:chgData name="Marc Feldkirchner" userId="c4135e70-53ec-4cd4-a1bd-4ca908459c8c" providerId="ADAL" clId="{16CCBD85-F179-4CAE-94FA-02D29450FF29}" dt="2021-11-25T16:24:37.830" v="316" actId="403"/>
          <pc:sldLayoutMkLst>
            <pc:docMk/>
            <pc:sldMasterMk cId="4171192528" sldId="2147483648"/>
            <pc:sldLayoutMk cId="695597895" sldId="2147483686"/>
          </pc:sldLayoutMkLst>
          <pc:spChg chg="mod">
            <ac:chgData name="Marc Feldkirchner" userId="c4135e70-53ec-4cd4-a1bd-4ca908459c8c" providerId="ADAL" clId="{16CCBD85-F179-4CAE-94FA-02D29450FF29}" dt="2021-11-25T16:24:37.830" v="316" actId="403"/>
            <ac:spMkLst>
              <pc:docMk/>
              <pc:sldMasterMk cId="4171192528" sldId="2147483648"/>
              <pc:sldLayoutMk cId="695597895" sldId="2147483686"/>
              <ac:spMk id="2" creationId="{8C287C18-301F-4464-89BE-6E721589331D}"/>
            </ac:spMkLst>
          </pc:spChg>
        </pc:sldLayoutChg>
        <pc:sldLayoutChg chg="modSp">
          <pc:chgData name="Marc Feldkirchner" userId="c4135e70-53ec-4cd4-a1bd-4ca908459c8c" providerId="ADAL" clId="{16CCBD85-F179-4CAE-94FA-02D29450FF29}" dt="2021-11-25T16:24:43.724" v="317" actId="403"/>
          <pc:sldLayoutMkLst>
            <pc:docMk/>
            <pc:sldMasterMk cId="4171192528" sldId="2147483648"/>
            <pc:sldLayoutMk cId="2535501271" sldId="2147483687"/>
          </pc:sldLayoutMkLst>
          <pc:spChg chg="mod">
            <ac:chgData name="Marc Feldkirchner" userId="c4135e70-53ec-4cd4-a1bd-4ca908459c8c" providerId="ADAL" clId="{16CCBD85-F179-4CAE-94FA-02D29450FF29}" dt="2021-11-25T16:24:43.724" v="317" actId="403"/>
            <ac:spMkLst>
              <pc:docMk/>
              <pc:sldMasterMk cId="4171192528" sldId="2147483648"/>
              <pc:sldLayoutMk cId="2535501271" sldId="2147483687"/>
              <ac:spMk id="2" creationId="{B7B7D3C4-EB5A-4D3B-8002-1D9070EEF004}"/>
            </ac:spMkLst>
          </pc:spChg>
        </pc:sldLayoutChg>
        <pc:sldLayoutChg chg="modSp">
          <pc:chgData name="Marc Feldkirchner" userId="c4135e70-53ec-4cd4-a1bd-4ca908459c8c" providerId="ADAL" clId="{16CCBD85-F179-4CAE-94FA-02D29450FF29}" dt="2021-11-25T16:24:48.019" v="318" actId="403"/>
          <pc:sldLayoutMkLst>
            <pc:docMk/>
            <pc:sldMasterMk cId="4171192528" sldId="2147483648"/>
            <pc:sldLayoutMk cId="4006506937" sldId="2147483688"/>
          </pc:sldLayoutMkLst>
          <pc:spChg chg="mod">
            <ac:chgData name="Marc Feldkirchner" userId="c4135e70-53ec-4cd4-a1bd-4ca908459c8c" providerId="ADAL" clId="{16CCBD85-F179-4CAE-94FA-02D29450FF29}" dt="2021-11-25T16:24:48.019" v="318" actId="403"/>
            <ac:spMkLst>
              <pc:docMk/>
              <pc:sldMasterMk cId="4171192528" sldId="2147483648"/>
              <pc:sldLayoutMk cId="4006506937" sldId="2147483688"/>
              <ac:spMk id="5" creationId="{E3B18D22-A3E5-4673-815D-100D17846FA1}"/>
            </ac:spMkLst>
          </pc:spChg>
        </pc:sldLayoutChg>
        <pc:sldLayoutChg chg="modSp">
          <pc:chgData name="Marc Feldkirchner" userId="c4135e70-53ec-4cd4-a1bd-4ca908459c8c" providerId="ADAL" clId="{16CCBD85-F179-4CAE-94FA-02D29450FF29}" dt="2021-11-25T16:24:53.448" v="319" actId="403"/>
          <pc:sldLayoutMkLst>
            <pc:docMk/>
            <pc:sldMasterMk cId="4171192528" sldId="2147483648"/>
            <pc:sldLayoutMk cId="939117591" sldId="2147483689"/>
          </pc:sldLayoutMkLst>
          <pc:spChg chg="mod">
            <ac:chgData name="Marc Feldkirchner" userId="c4135e70-53ec-4cd4-a1bd-4ca908459c8c" providerId="ADAL" clId="{16CCBD85-F179-4CAE-94FA-02D29450FF29}" dt="2021-11-25T16:24:53.448" v="319" actId="403"/>
            <ac:spMkLst>
              <pc:docMk/>
              <pc:sldMasterMk cId="4171192528" sldId="2147483648"/>
              <pc:sldLayoutMk cId="939117591" sldId="2147483689"/>
              <ac:spMk id="8" creationId="{EFAA7117-B871-475F-A19B-4FEFEFA44BFA}"/>
            </ac:spMkLst>
          </pc:spChg>
        </pc:sldLayoutChg>
        <pc:sldLayoutChg chg="modSp">
          <pc:chgData name="Marc Feldkirchner" userId="c4135e70-53ec-4cd4-a1bd-4ca908459c8c" providerId="ADAL" clId="{16CCBD85-F179-4CAE-94FA-02D29450FF29}" dt="2021-11-25T16:23:51.084" v="308" actId="255"/>
          <pc:sldLayoutMkLst>
            <pc:docMk/>
            <pc:sldMasterMk cId="4171192528" sldId="2147483648"/>
            <pc:sldLayoutMk cId="1519303885" sldId="2147483690"/>
          </pc:sldLayoutMkLst>
          <pc:spChg chg="mod">
            <ac:chgData name="Marc Feldkirchner" userId="c4135e70-53ec-4cd4-a1bd-4ca908459c8c" providerId="ADAL" clId="{16CCBD85-F179-4CAE-94FA-02D29450FF29}" dt="2021-11-25T16:23:51.084" v="308" actId="255"/>
            <ac:spMkLst>
              <pc:docMk/>
              <pc:sldMasterMk cId="4171192528" sldId="2147483648"/>
              <pc:sldLayoutMk cId="1519303885" sldId="2147483690"/>
              <ac:spMk id="104" creationId="{C98E9493-1F8B-4FBF-92CD-FD88C8614C6D}"/>
            </ac:spMkLst>
          </pc:spChg>
        </pc:sldLayoutChg>
        <pc:sldLayoutChg chg="modSp">
          <pc:chgData name="Marc Feldkirchner" userId="c4135e70-53ec-4cd4-a1bd-4ca908459c8c" providerId="ADAL" clId="{16CCBD85-F179-4CAE-94FA-02D29450FF29}" dt="2021-11-25T16:25:03.113" v="320" actId="403"/>
          <pc:sldLayoutMkLst>
            <pc:docMk/>
            <pc:sldMasterMk cId="4171192528" sldId="2147483648"/>
            <pc:sldLayoutMk cId="2661342319" sldId="2147483698"/>
          </pc:sldLayoutMkLst>
          <pc:spChg chg="mod">
            <ac:chgData name="Marc Feldkirchner" userId="c4135e70-53ec-4cd4-a1bd-4ca908459c8c" providerId="ADAL" clId="{16CCBD85-F179-4CAE-94FA-02D29450FF29}" dt="2021-11-25T16:25:03.113" v="320" actId="403"/>
            <ac:spMkLst>
              <pc:docMk/>
              <pc:sldMasterMk cId="4171192528" sldId="2147483648"/>
              <pc:sldLayoutMk cId="2661342319" sldId="2147483698"/>
              <ac:spMk id="8" creationId="{EFAA7117-B871-475F-A19B-4FEFEFA44BFA}"/>
            </ac:spMkLst>
          </pc:spChg>
        </pc:sldLayoutChg>
        <pc:sldLayoutChg chg="delSp modSp add mod modTransition">
          <pc:chgData name="Marc Feldkirchner" userId="c4135e70-53ec-4cd4-a1bd-4ca908459c8c" providerId="ADAL" clId="{16CCBD85-F179-4CAE-94FA-02D29450FF29}" dt="2021-11-25T16:26:32.886" v="372" actId="14100"/>
          <pc:sldLayoutMkLst>
            <pc:docMk/>
            <pc:sldMasterMk cId="4171192528" sldId="2147483648"/>
            <pc:sldLayoutMk cId="3148073896" sldId="2147483699"/>
          </pc:sldLayoutMkLst>
          <pc:spChg chg="del">
            <ac:chgData name="Marc Feldkirchner" userId="c4135e70-53ec-4cd4-a1bd-4ca908459c8c" providerId="ADAL" clId="{16CCBD85-F179-4CAE-94FA-02D29450FF29}" dt="2021-11-25T16:25:41.813" v="323" actId="478"/>
            <ac:spMkLst>
              <pc:docMk/>
              <pc:sldMasterMk cId="4171192528" sldId="2147483648"/>
              <pc:sldLayoutMk cId="3148073896" sldId="2147483699"/>
              <ac:spMk id="6" creationId="{3006ADF7-280D-4EAD-9ED0-B65FC39B9A40}"/>
            </ac:spMkLst>
          </pc:spChg>
          <pc:spChg chg="mod">
            <ac:chgData name="Marc Feldkirchner" userId="c4135e70-53ec-4cd4-a1bd-4ca908459c8c" providerId="ADAL" clId="{16CCBD85-F179-4CAE-94FA-02D29450FF29}" dt="2021-11-25T16:26:32.886" v="372" actId="14100"/>
            <ac:spMkLst>
              <pc:docMk/>
              <pc:sldMasterMk cId="4171192528" sldId="2147483648"/>
              <pc:sldLayoutMk cId="3148073896" sldId="2147483699"/>
              <ac:spMk id="8" creationId="{EFAA7117-B871-475F-A19B-4FEFEFA44BFA}"/>
            </ac:spMkLst>
          </pc:spChg>
        </pc:sldLayoutChg>
      </pc:sldMasterChg>
    </pc:docChg>
  </pc:docChgLst>
  <pc:docChgLst>
    <pc:chgData name="Claas Dibke" userId="S::c.dibke@conbene.de::ddcbaaf6-1c3b-47d3-adc9-2339165010e6" providerId="AD" clId="Web-{CB36E5FC-E06D-4E72-874F-6D19D91E5E49}"/>
    <pc:docChg chg="modSld">
      <pc:chgData name="Claas Dibke" userId="S::c.dibke@conbene.de::ddcbaaf6-1c3b-47d3-adc9-2339165010e6" providerId="AD" clId="Web-{CB36E5FC-E06D-4E72-874F-6D19D91E5E49}" dt="2022-07-14T10:29:42.265" v="0" actId="14100"/>
      <pc:docMkLst>
        <pc:docMk/>
      </pc:docMkLst>
      <pc:sldChg chg="modSp">
        <pc:chgData name="Claas Dibke" userId="S::c.dibke@conbene.de::ddcbaaf6-1c3b-47d3-adc9-2339165010e6" providerId="AD" clId="Web-{CB36E5FC-E06D-4E72-874F-6D19D91E5E49}" dt="2022-07-14T10:29:42.265" v="0" actId="14100"/>
        <pc:sldMkLst>
          <pc:docMk/>
          <pc:sldMk cId="3056604384" sldId="433"/>
        </pc:sldMkLst>
        <pc:picChg chg="mod">
          <ac:chgData name="Claas Dibke" userId="S::c.dibke@conbene.de::ddcbaaf6-1c3b-47d3-adc9-2339165010e6" providerId="AD" clId="Web-{CB36E5FC-E06D-4E72-874F-6D19D91E5E49}" dt="2022-07-14T10:29:42.265" v="0" actId="14100"/>
          <ac:picMkLst>
            <pc:docMk/>
            <pc:sldMk cId="3056604384" sldId="433"/>
            <ac:picMk id="21" creationId="{F14D4847-9BC8-4212-9696-F2B027444D0C}"/>
          </ac:picMkLst>
        </pc:picChg>
      </pc:sldChg>
    </pc:docChg>
  </pc:docChgLst>
  <pc:docChgLst>
    <pc:chgData name="Nils Jennissen" userId="c8e78864-794c-4676-bd08-c750f307b710" providerId="ADAL" clId="{D5E06353-670E-5E4E-B4BD-1BFFE5D08A4D}"/>
    <pc:docChg chg="modSld">
      <pc:chgData name="Nils Jennissen" userId="c8e78864-794c-4676-bd08-c750f307b710" providerId="ADAL" clId="{D5E06353-670E-5E4E-B4BD-1BFFE5D08A4D}" dt="2022-02-24T12:17:11.912" v="2" actId="767"/>
      <pc:docMkLst>
        <pc:docMk/>
      </pc:docMkLst>
      <pc:sldChg chg="addSp modSp">
        <pc:chgData name="Nils Jennissen" userId="c8e78864-794c-4676-bd08-c750f307b710" providerId="ADAL" clId="{D5E06353-670E-5E4E-B4BD-1BFFE5D08A4D}" dt="2022-02-24T12:17:11.912" v="2" actId="767"/>
        <pc:sldMkLst>
          <pc:docMk/>
          <pc:sldMk cId="947004393" sldId="336"/>
        </pc:sldMkLst>
        <pc:spChg chg="add mod">
          <ac:chgData name="Nils Jennissen" userId="c8e78864-794c-4676-bd08-c750f307b710" providerId="ADAL" clId="{D5E06353-670E-5E4E-B4BD-1BFFE5D08A4D}" dt="2022-02-24T12:17:11.912" v="2" actId="767"/>
          <ac:spMkLst>
            <pc:docMk/>
            <pc:sldMk cId="947004393" sldId="336"/>
            <ac:spMk id="2" creationId="{47EB54C4-5BA1-244E-8126-AE0B9AFA1A15}"/>
          </ac:spMkLst>
        </pc:spChg>
      </pc:sldChg>
      <pc:sldChg chg="addSp modSp">
        <pc:chgData name="Nils Jennissen" userId="c8e78864-794c-4676-bd08-c750f307b710" providerId="ADAL" clId="{D5E06353-670E-5E4E-B4BD-1BFFE5D08A4D}" dt="2022-02-24T12:06:16.770" v="1" actId="767"/>
        <pc:sldMkLst>
          <pc:docMk/>
          <pc:sldMk cId="3038720959" sldId="339"/>
        </pc:sldMkLst>
        <pc:spChg chg="add mod">
          <ac:chgData name="Nils Jennissen" userId="c8e78864-794c-4676-bd08-c750f307b710" providerId="ADAL" clId="{D5E06353-670E-5E4E-B4BD-1BFFE5D08A4D}" dt="2022-02-24T12:06:15.568" v="0" actId="767"/>
          <ac:spMkLst>
            <pc:docMk/>
            <pc:sldMk cId="3038720959" sldId="339"/>
            <ac:spMk id="2" creationId="{CB0BC7BC-A64F-5F40-8FC2-5DAB1B154F8E}"/>
          </ac:spMkLst>
        </pc:spChg>
        <pc:spChg chg="add mod">
          <ac:chgData name="Nils Jennissen" userId="c8e78864-794c-4676-bd08-c750f307b710" providerId="ADAL" clId="{D5E06353-670E-5E4E-B4BD-1BFFE5D08A4D}" dt="2022-02-24T12:06:16.770" v="1" actId="767"/>
          <ac:spMkLst>
            <pc:docMk/>
            <pc:sldMk cId="3038720959" sldId="339"/>
            <ac:spMk id="5" creationId="{B7D73A77-E1D9-5142-ADFE-0F0DF05FE96F}"/>
          </ac:spMkLst>
        </pc:spChg>
      </pc:sldChg>
    </pc:docChg>
  </pc:docChgLst>
  <pc:docChgLst>
    <pc:chgData name="Marc Feldkirchner" userId="S::m.feldkirchner@conbene.de::c4135e70-53ec-4cd4-a1bd-4ca908459c8c" providerId="AD" clId="Web-{3F2A90CA-F804-4152-B36B-379B4E3E7E63}"/>
    <pc:docChg chg="modSld">
      <pc:chgData name="Marc Feldkirchner" userId="S::m.feldkirchner@conbene.de::c4135e70-53ec-4cd4-a1bd-4ca908459c8c" providerId="AD" clId="Web-{3F2A90CA-F804-4152-B36B-379B4E3E7E63}" dt="2022-02-08T22:31:42.176" v="1"/>
      <pc:docMkLst>
        <pc:docMk/>
      </pc:docMkLst>
      <pc:sldChg chg="addSp delSp modSp">
        <pc:chgData name="Marc Feldkirchner" userId="S::m.feldkirchner@conbene.de::c4135e70-53ec-4cd4-a1bd-4ca908459c8c" providerId="AD" clId="Web-{3F2A90CA-F804-4152-B36B-379B4E3E7E63}" dt="2022-02-08T22:31:42.176" v="1"/>
        <pc:sldMkLst>
          <pc:docMk/>
          <pc:sldMk cId="216177301" sldId="380"/>
        </pc:sldMkLst>
        <pc:spChg chg="add del mod">
          <ac:chgData name="Marc Feldkirchner" userId="S::m.feldkirchner@conbene.de::c4135e70-53ec-4cd4-a1bd-4ca908459c8c" providerId="AD" clId="Web-{3F2A90CA-F804-4152-B36B-379B4E3E7E63}" dt="2022-02-08T22:31:42.176" v="1"/>
          <ac:spMkLst>
            <pc:docMk/>
            <pc:sldMk cId="216177301" sldId="380"/>
            <ac:spMk id="5" creationId="{F9FCB1CB-85CA-42CF-808A-082C5EDA6DE9}"/>
          </ac:spMkLst>
        </pc:spChg>
        <pc:spChg chg="del">
          <ac:chgData name="Marc Feldkirchner" userId="S::m.feldkirchner@conbene.de::c4135e70-53ec-4cd4-a1bd-4ca908459c8c" providerId="AD" clId="Web-{3F2A90CA-F804-4152-B36B-379B4E3E7E63}" dt="2022-02-08T22:31:37.395" v="0"/>
          <ac:spMkLst>
            <pc:docMk/>
            <pc:sldMk cId="216177301" sldId="380"/>
            <ac:spMk id="17" creationId="{781750EC-AB1A-4019-A93F-FCE186860B52}"/>
          </ac:spMkLst>
        </pc:spChg>
      </pc:sldChg>
    </pc:docChg>
  </pc:docChgLst>
  <pc:docChgLst>
    <pc:chgData name="Marc Feldkirchner" userId="c4135e70-53ec-4cd4-a1bd-4ca908459c8c" providerId="ADAL" clId="{9E6C05E1-8089-4C7B-99E0-8B365EDE2B39}"/>
    <pc:docChg chg="custSel modSld">
      <pc:chgData name="Marc Feldkirchner" userId="c4135e70-53ec-4cd4-a1bd-4ca908459c8c" providerId="ADAL" clId="{9E6C05E1-8089-4C7B-99E0-8B365EDE2B39}" dt="2022-02-16T11:11:37.139" v="34" actId="478"/>
      <pc:docMkLst>
        <pc:docMk/>
      </pc:docMkLst>
      <pc:sldChg chg="addSp delSp modSp mod">
        <pc:chgData name="Marc Feldkirchner" userId="c4135e70-53ec-4cd4-a1bd-4ca908459c8c" providerId="ADAL" clId="{9E6C05E1-8089-4C7B-99E0-8B365EDE2B39}" dt="2022-02-16T11:11:37.139" v="34" actId="478"/>
        <pc:sldMkLst>
          <pc:docMk/>
          <pc:sldMk cId="941330492" sldId="379"/>
        </pc:sldMkLst>
        <pc:spChg chg="add del mod">
          <ac:chgData name="Marc Feldkirchner" userId="c4135e70-53ec-4cd4-a1bd-4ca908459c8c" providerId="ADAL" clId="{9E6C05E1-8089-4C7B-99E0-8B365EDE2B39}" dt="2022-02-16T11:11:37.139" v="34" actId="478"/>
          <ac:spMkLst>
            <pc:docMk/>
            <pc:sldMk cId="941330492" sldId="379"/>
            <ac:spMk id="7" creationId="{AE7B7065-18D9-4F83-9A8E-DF6E17A4C7D9}"/>
          </ac:spMkLst>
        </pc:spChg>
        <pc:spChg chg="add del mod">
          <ac:chgData name="Marc Feldkirchner" userId="c4135e70-53ec-4cd4-a1bd-4ca908459c8c" providerId="ADAL" clId="{9E6C05E1-8089-4C7B-99E0-8B365EDE2B39}" dt="2022-02-16T11:10:45.535" v="10" actId="478"/>
          <ac:spMkLst>
            <pc:docMk/>
            <pc:sldMk cId="941330492" sldId="379"/>
            <ac:spMk id="8" creationId="{C88563E4-AC68-49F6-8F0E-340F1382581F}"/>
          </ac:spMkLst>
        </pc:spChg>
        <pc:spChg chg="add del mod">
          <ac:chgData name="Marc Feldkirchner" userId="c4135e70-53ec-4cd4-a1bd-4ca908459c8c" providerId="ADAL" clId="{9E6C05E1-8089-4C7B-99E0-8B365EDE2B39}" dt="2022-02-16T11:11:34.014" v="32" actId="478"/>
          <ac:spMkLst>
            <pc:docMk/>
            <pc:sldMk cId="941330492" sldId="379"/>
            <ac:spMk id="9" creationId="{D46CE84C-5201-4F2C-AE4D-3DA834B46807}"/>
          </ac:spMkLst>
        </pc:spChg>
        <pc:spChg chg="add del mod">
          <ac:chgData name="Marc Feldkirchner" userId="c4135e70-53ec-4cd4-a1bd-4ca908459c8c" providerId="ADAL" clId="{9E6C05E1-8089-4C7B-99E0-8B365EDE2B39}" dt="2022-02-16T11:10:47.032" v="12" actId="478"/>
          <ac:spMkLst>
            <pc:docMk/>
            <pc:sldMk cId="941330492" sldId="379"/>
            <ac:spMk id="23" creationId="{BFE4CDA4-10B1-494C-A621-66D7599C2D3C}"/>
          </ac:spMkLst>
        </pc:spChg>
        <pc:spChg chg="add del mod">
          <ac:chgData name="Marc Feldkirchner" userId="c4135e70-53ec-4cd4-a1bd-4ca908459c8c" providerId="ADAL" clId="{9E6C05E1-8089-4C7B-99E0-8B365EDE2B39}" dt="2022-02-16T11:11:35.722" v="33" actId="478"/>
          <ac:spMkLst>
            <pc:docMk/>
            <pc:sldMk cId="941330492" sldId="379"/>
            <ac:spMk id="24" creationId="{CF1C8DF6-3039-4E07-BE83-52CE6D43C921}"/>
          </ac:spMkLst>
        </pc:spChg>
      </pc:sldChg>
    </pc:docChg>
  </pc:docChgLst>
  <pc:docChgLst>
    <pc:chgData name="Marc Feldkirchner" userId="c4135e70-53ec-4cd4-a1bd-4ca908459c8c" providerId="ADAL" clId="{8D3E516F-F447-46F4-8220-9AD2A9329575}"/>
    <pc:docChg chg="undo custSel addSld delSld modSld">
      <pc:chgData name="Marc Feldkirchner" userId="c4135e70-53ec-4cd4-a1bd-4ca908459c8c" providerId="ADAL" clId="{8D3E516F-F447-46F4-8220-9AD2A9329575}" dt="2022-02-08T22:30:46.789" v="131" actId="3064"/>
      <pc:docMkLst>
        <pc:docMk/>
      </pc:docMkLst>
      <pc:sldChg chg="modSp add del mod">
        <pc:chgData name="Marc Feldkirchner" userId="c4135e70-53ec-4cd4-a1bd-4ca908459c8c" providerId="ADAL" clId="{8D3E516F-F447-46F4-8220-9AD2A9329575}" dt="2022-02-08T22:30:46.789" v="131" actId="3064"/>
        <pc:sldMkLst>
          <pc:docMk/>
          <pc:sldMk cId="216177301" sldId="380"/>
        </pc:sldMkLst>
        <pc:graphicFrameChg chg="mod modGraphic">
          <ac:chgData name="Marc Feldkirchner" userId="c4135e70-53ec-4cd4-a1bd-4ca908459c8c" providerId="ADAL" clId="{8D3E516F-F447-46F4-8220-9AD2A9329575}" dt="2022-02-08T22:30:46.789" v="131" actId="3064"/>
          <ac:graphicFrameMkLst>
            <pc:docMk/>
            <pc:sldMk cId="216177301" sldId="380"/>
            <ac:graphicFrameMk id="12" creationId="{90A3AE64-04DB-4D3B-AC2B-2A4E8D7484AB}"/>
          </ac:graphicFrameMkLst>
        </pc:graphicFrameChg>
      </pc:sldChg>
    </pc:docChg>
  </pc:docChgLst>
  <pc:docChgLst>
    <pc:chgData name="Daniel Hamann" userId="847c405c-7417-4257-a34f-58113b877d74" providerId="ADAL" clId="{919764FA-1775-44B6-BB7D-8A0C365D0EE5}"/>
    <pc:docChg chg="undo custSel addSld delSld modSld sldOrd addSection delSection modSection">
      <pc:chgData name="Daniel Hamann" userId="847c405c-7417-4257-a34f-58113b877d74" providerId="ADAL" clId="{919764FA-1775-44B6-BB7D-8A0C365D0EE5}" dt="2022-04-05T09:59:37.911" v="320" actId="14100"/>
      <pc:docMkLst>
        <pc:docMk/>
      </pc:docMkLst>
      <pc:sldChg chg="new del ord">
        <pc:chgData name="Daniel Hamann" userId="847c405c-7417-4257-a34f-58113b877d74" providerId="ADAL" clId="{919764FA-1775-44B6-BB7D-8A0C365D0EE5}" dt="2022-04-05T09:29:57.313" v="10" actId="47"/>
        <pc:sldMkLst>
          <pc:docMk/>
          <pc:sldMk cId="3310472277" sldId="425"/>
        </pc:sldMkLst>
      </pc:sldChg>
      <pc:sldChg chg="modSp add mod ord">
        <pc:chgData name="Daniel Hamann" userId="847c405c-7417-4257-a34f-58113b877d74" providerId="ADAL" clId="{919764FA-1775-44B6-BB7D-8A0C365D0EE5}" dt="2022-04-05T09:30:42.859" v="40" actId="20577"/>
        <pc:sldMkLst>
          <pc:docMk/>
          <pc:sldMk cId="3808728708" sldId="426"/>
        </pc:sldMkLst>
        <pc:spChg chg="mod">
          <ac:chgData name="Daniel Hamann" userId="847c405c-7417-4257-a34f-58113b877d74" providerId="ADAL" clId="{919764FA-1775-44B6-BB7D-8A0C365D0EE5}" dt="2022-04-05T09:30:42.859" v="40" actId="20577"/>
          <ac:spMkLst>
            <pc:docMk/>
            <pc:sldMk cId="3808728708" sldId="426"/>
            <ac:spMk id="14" creationId="{B07F6F48-85B6-4FFA-9856-27CF4F35ACE8}"/>
          </ac:spMkLst>
        </pc:spChg>
      </pc:sldChg>
      <pc:sldChg chg="delSp modSp new del mod">
        <pc:chgData name="Daniel Hamann" userId="847c405c-7417-4257-a34f-58113b877d74" providerId="ADAL" clId="{919764FA-1775-44B6-BB7D-8A0C365D0EE5}" dt="2022-04-05T09:33:32.621" v="206" actId="47"/>
        <pc:sldMkLst>
          <pc:docMk/>
          <pc:sldMk cId="3093523369" sldId="427"/>
        </pc:sldMkLst>
        <pc:spChg chg="mod">
          <ac:chgData name="Daniel Hamann" userId="847c405c-7417-4257-a34f-58113b877d74" providerId="ADAL" clId="{919764FA-1775-44B6-BB7D-8A0C365D0EE5}" dt="2022-04-05T09:32:31.947" v="195" actId="20577"/>
          <ac:spMkLst>
            <pc:docMk/>
            <pc:sldMk cId="3093523369" sldId="427"/>
            <ac:spMk id="5" creationId="{EDC1A7C2-6911-47CA-86CA-1A1A643D8DB7}"/>
          </ac:spMkLst>
        </pc:spChg>
        <pc:spChg chg="mod">
          <ac:chgData name="Daniel Hamann" userId="847c405c-7417-4257-a34f-58113b877d74" providerId="ADAL" clId="{919764FA-1775-44B6-BB7D-8A0C365D0EE5}" dt="2022-04-05T09:33:16.898" v="202"/>
          <ac:spMkLst>
            <pc:docMk/>
            <pc:sldMk cId="3093523369" sldId="427"/>
            <ac:spMk id="9" creationId="{701E1652-CD3B-46B2-9DF3-802A1D314DC2}"/>
          </ac:spMkLst>
        </pc:spChg>
        <pc:spChg chg="del">
          <ac:chgData name="Daniel Hamann" userId="847c405c-7417-4257-a34f-58113b877d74" providerId="ADAL" clId="{919764FA-1775-44B6-BB7D-8A0C365D0EE5}" dt="2022-04-05T09:32:07.709" v="150" actId="478"/>
          <ac:spMkLst>
            <pc:docMk/>
            <pc:sldMk cId="3093523369" sldId="427"/>
            <ac:spMk id="11" creationId="{7E6CCDAF-BA5B-4EC6-BA04-92FE47D0ED32}"/>
          </ac:spMkLst>
        </pc:spChg>
        <pc:spChg chg="del">
          <ac:chgData name="Daniel Hamann" userId="847c405c-7417-4257-a34f-58113b877d74" providerId="ADAL" clId="{919764FA-1775-44B6-BB7D-8A0C365D0EE5}" dt="2022-04-05T09:32:07.709" v="150" actId="478"/>
          <ac:spMkLst>
            <pc:docMk/>
            <pc:sldMk cId="3093523369" sldId="427"/>
            <ac:spMk id="12" creationId="{2E96CFC6-F076-419E-BCBC-D7E36E405F79}"/>
          </ac:spMkLst>
        </pc:spChg>
        <pc:spChg chg="del">
          <ac:chgData name="Daniel Hamann" userId="847c405c-7417-4257-a34f-58113b877d74" providerId="ADAL" clId="{919764FA-1775-44B6-BB7D-8A0C365D0EE5}" dt="2022-04-05T09:32:07.709" v="150" actId="478"/>
          <ac:spMkLst>
            <pc:docMk/>
            <pc:sldMk cId="3093523369" sldId="427"/>
            <ac:spMk id="13" creationId="{5F2FF9CB-6E85-4DF0-8473-CBB89DDA540E}"/>
          </ac:spMkLst>
        </pc:spChg>
        <pc:spChg chg="del">
          <ac:chgData name="Daniel Hamann" userId="847c405c-7417-4257-a34f-58113b877d74" providerId="ADAL" clId="{919764FA-1775-44B6-BB7D-8A0C365D0EE5}" dt="2022-04-05T09:32:10.243" v="151" actId="478"/>
          <ac:spMkLst>
            <pc:docMk/>
            <pc:sldMk cId="3093523369" sldId="427"/>
            <ac:spMk id="14" creationId="{94C66E1D-6DE2-494A-A59B-7A0C81A374AB}"/>
          </ac:spMkLst>
        </pc:spChg>
        <pc:spChg chg="del">
          <ac:chgData name="Daniel Hamann" userId="847c405c-7417-4257-a34f-58113b877d74" providerId="ADAL" clId="{919764FA-1775-44B6-BB7D-8A0C365D0EE5}" dt="2022-04-05T09:32:10.243" v="151" actId="478"/>
          <ac:spMkLst>
            <pc:docMk/>
            <pc:sldMk cId="3093523369" sldId="427"/>
            <ac:spMk id="15" creationId="{DF928F48-29DE-4E8D-A3DD-C1FFCC964E8F}"/>
          </ac:spMkLst>
        </pc:spChg>
        <pc:spChg chg="del">
          <ac:chgData name="Daniel Hamann" userId="847c405c-7417-4257-a34f-58113b877d74" providerId="ADAL" clId="{919764FA-1775-44B6-BB7D-8A0C365D0EE5}" dt="2022-04-05T09:32:10.243" v="151" actId="478"/>
          <ac:spMkLst>
            <pc:docMk/>
            <pc:sldMk cId="3093523369" sldId="427"/>
            <ac:spMk id="16" creationId="{EEF4DE8A-292B-46F1-B69B-46FD851A03ED}"/>
          </ac:spMkLst>
        </pc:spChg>
        <pc:spChg chg="mod">
          <ac:chgData name="Daniel Hamann" userId="847c405c-7417-4257-a34f-58113b877d74" providerId="ADAL" clId="{919764FA-1775-44B6-BB7D-8A0C365D0EE5}" dt="2022-04-05T09:32:02.099" v="142" actId="20577"/>
          <ac:spMkLst>
            <pc:docMk/>
            <pc:sldMk cId="3093523369" sldId="427"/>
            <ac:spMk id="18" creationId="{060BA545-ADDE-48CE-919A-C4E438DBC2DA}"/>
          </ac:spMkLst>
        </pc:spChg>
        <pc:spChg chg="del">
          <ac:chgData name="Daniel Hamann" userId="847c405c-7417-4257-a34f-58113b877d74" providerId="ADAL" clId="{919764FA-1775-44B6-BB7D-8A0C365D0EE5}" dt="2022-04-05T09:32:10.243" v="151" actId="478"/>
          <ac:spMkLst>
            <pc:docMk/>
            <pc:sldMk cId="3093523369" sldId="427"/>
            <ac:spMk id="20" creationId="{4D8C14D2-FBAD-49AD-97D7-D6F8B3C7B93F}"/>
          </ac:spMkLst>
        </pc:spChg>
        <pc:spChg chg="del">
          <ac:chgData name="Daniel Hamann" userId="847c405c-7417-4257-a34f-58113b877d74" providerId="ADAL" clId="{919764FA-1775-44B6-BB7D-8A0C365D0EE5}" dt="2022-04-05T09:32:10.243" v="151" actId="478"/>
          <ac:spMkLst>
            <pc:docMk/>
            <pc:sldMk cId="3093523369" sldId="427"/>
            <ac:spMk id="21" creationId="{A002CA3D-EEC8-4E98-B72D-66A75C336868}"/>
          </ac:spMkLst>
        </pc:spChg>
        <pc:spChg chg="del">
          <ac:chgData name="Daniel Hamann" userId="847c405c-7417-4257-a34f-58113b877d74" providerId="ADAL" clId="{919764FA-1775-44B6-BB7D-8A0C365D0EE5}" dt="2022-04-05T09:32:10.243" v="151" actId="478"/>
          <ac:spMkLst>
            <pc:docMk/>
            <pc:sldMk cId="3093523369" sldId="427"/>
            <ac:spMk id="22" creationId="{AAA8B59C-4412-47FC-9393-DCE759DC89EE}"/>
          </ac:spMkLst>
        </pc:spChg>
        <pc:spChg chg="mod">
          <ac:chgData name="Daniel Hamann" userId="847c405c-7417-4257-a34f-58113b877d74" providerId="ADAL" clId="{919764FA-1775-44B6-BB7D-8A0C365D0EE5}" dt="2022-04-05T09:31:37.481" v="82" actId="20577"/>
          <ac:spMkLst>
            <pc:docMk/>
            <pc:sldMk cId="3093523369" sldId="427"/>
            <ac:spMk id="24" creationId="{60CBD09B-4F36-42B6-AB68-13250B2B70CB}"/>
          </ac:spMkLst>
        </pc:spChg>
        <pc:spChg chg="mod">
          <ac:chgData name="Daniel Hamann" userId="847c405c-7417-4257-a34f-58113b877d74" providerId="ADAL" clId="{919764FA-1775-44B6-BB7D-8A0C365D0EE5}" dt="2022-04-05T09:31:43.614" v="95" actId="20577"/>
          <ac:spMkLst>
            <pc:docMk/>
            <pc:sldMk cId="3093523369" sldId="427"/>
            <ac:spMk id="27" creationId="{9C71A212-9EEC-4E16-B212-3896263666D9}"/>
          </ac:spMkLst>
        </pc:spChg>
        <pc:spChg chg="mod">
          <ac:chgData name="Daniel Hamann" userId="847c405c-7417-4257-a34f-58113b877d74" providerId="ADAL" clId="{919764FA-1775-44B6-BB7D-8A0C365D0EE5}" dt="2022-04-05T09:32:05.161" v="149" actId="20577"/>
          <ac:spMkLst>
            <pc:docMk/>
            <pc:sldMk cId="3093523369" sldId="427"/>
            <ac:spMk id="30" creationId="{7E652456-10C6-4D59-B09F-D9CD9AB856BC}"/>
          </ac:spMkLst>
        </pc:spChg>
        <pc:spChg chg="del">
          <ac:chgData name="Daniel Hamann" userId="847c405c-7417-4257-a34f-58113b877d74" providerId="ADAL" clId="{919764FA-1775-44B6-BB7D-8A0C365D0EE5}" dt="2022-04-05T09:32:07.709" v="150" actId="478"/>
          <ac:spMkLst>
            <pc:docMk/>
            <pc:sldMk cId="3093523369" sldId="427"/>
            <ac:spMk id="32" creationId="{A256181B-670B-4984-B11C-7DCB621E31C8}"/>
          </ac:spMkLst>
        </pc:spChg>
        <pc:spChg chg="del">
          <ac:chgData name="Daniel Hamann" userId="847c405c-7417-4257-a34f-58113b877d74" providerId="ADAL" clId="{919764FA-1775-44B6-BB7D-8A0C365D0EE5}" dt="2022-04-05T09:32:07.709" v="150" actId="478"/>
          <ac:spMkLst>
            <pc:docMk/>
            <pc:sldMk cId="3093523369" sldId="427"/>
            <ac:spMk id="33" creationId="{35EE9697-AE29-4887-8081-136FBD1E6FE5}"/>
          </ac:spMkLst>
        </pc:spChg>
        <pc:spChg chg="del">
          <ac:chgData name="Daniel Hamann" userId="847c405c-7417-4257-a34f-58113b877d74" providerId="ADAL" clId="{919764FA-1775-44B6-BB7D-8A0C365D0EE5}" dt="2022-04-05T09:32:07.709" v="150" actId="478"/>
          <ac:spMkLst>
            <pc:docMk/>
            <pc:sldMk cId="3093523369" sldId="427"/>
            <ac:spMk id="34" creationId="{C349BF71-D033-4EE3-9049-1BFBB9CEAD22}"/>
          </ac:spMkLst>
        </pc:spChg>
        <pc:spChg chg="del">
          <ac:chgData name="Daniel Hamann" userId="847c405c-7417-4257-a34f-58113b877d74" providerId="ADAL" clId="{919764FA-1775-44B6-BB7D-8A0C365D0EE5}" dt="2022-04-05T09:32:10.243" v="151" actId="478"/>
          <ac:spMkLst>
            <pc:docMk/>
            <pc:sldMk cId="3093523369" sldId="427"/>
            <ac:spMk id="35" creationId="{BBBBFBD2-16C5-4E61-A27F-56DCDD50FCF9}"/>
          </ac:spMkLst>
        </pc:spChg>
        <pc:spChg chg="del">
          <ac:chgData name="Daniel Hamann" userId="847c405c-7417-4257-a34f-58113b877d74" providerId="ADAL" clId="{919764FA-1775-44B6-BB7D-8A0C365D0EE5}" dt="2022-04-05T09:32:10.243" v="151" actId="478"/>
          <ac:spMkLst>
            <pc:docMk/>
            <pc:sldMk cId="3093523369" sldId="427"/>
            <ac:spMk id="36" creationId="{24D37A8B-8EB1-4775-82F1-91BBF506F117}"/>
          </ac:spMkLst>
        </pc:spChg>
        <pc:spChg chg="del">
          <ac:chgData name="Daniel Hamann" userId="847c405c-7417-4257-a34f-58113b877d74" providerId="ADAL" clId="{919764FA-1775-44B6-BB7D-8A0C365D0EE5}" dt="2022-04-05T09:32:10.243" v="151" actId="478"/>
          <ac:spMkLst>
            <pc:docMk/>
            <pc:sldMk cId="3093523369" sldId="427"/>
            <ac:spMk id="37" creationId="{1EE0251A-27A1-466A-AAAF-CF7B09813E1E}"/>
          </ac:spMkLst>
        </pc:spChg>
        <pc:spChg chg="del">
          <ac:chgData name="Daniel Hamann" userId="847c405c-7417-4257-a34f-58113b877d74" providerId="ADAL" clId="{919764FA-1775-44B6-BB7D-8A0C365D0EE5}" dt="2022-04-05T09:32:10.243" v="151" actId="478"/>
          <ac:spMkLst>
            <pc:docMk/>
            <pc:sldMk cId="3093523369" sldId="427"/>
            <ac:spMk id="38" creationId="{A937FFEF-C9C0-40A4-9038-19CAB14F3D1D}"/>
          </ac:spMkLst>
        </pc:spChg>
        <pc:spChg chg="del">
          <ac:chgData name="Daniel Hamann" userId="847c405c-7417-4257-a34f-58113b877d74" providerId="ADAL" clId="{919764FA-1775-44B6-BB7D-8A0C365D0EE5}" dt="2022-04-05T09:32:10.243" v="151" actId="478"/>
          <ac:spMkLst>
            <pc:docMk/>
            <pc:sldMk cId="3093523369" sldId="427"/>
            <ac:spMk id="39" creationId="{0BE74B21-705B-4F73-9E58-5FA67826B892}"/>
          </ac:spMkLst>
        </pc:spChg>
        <pc:spChg chg="del">
          <ac:chgData name="Daniel Hamann" userId="847c405c-7417-4257-a34f-58113b877d74" providerId="ADAL" clId="{919764FA-1775-44B6-BB7D-8A0C365D0EE5}" dt="2022-04-05T09:32:10.243" v="151" actId="478"/>
          <ac:spMkLst>
            <pc:docMk/>
            <pc:sldMk cId="3093523369" sldId="427"/>
            <ac:spMk id="40" creationId="{6883541F-F90D-4E78-896E-1EF7F83549F7}"/>
          </ac:spMkLst>
        </pc:spChg>
      </pc:sldChg>
      <pc:sldChg chg="addSp delSp modSp new mod modClrScheme chgLayout">
        <pc:chgData name="Daniel Hamann" userId="847c405c-7417-4257-a34f-58113b877d74" providerId="ADAL" clId="{919764FA-1775-44B6-BB7D-8A0C365D0EE5}" dt="2022-04-05T09:33:43.537" v="207" actId="700"/>
        <pc:sldMkLst>
          <pc:docMk/>
          <pc:sldMk cId="3406666726" sldId="428"/>
        </pc:sldMkLst>
        <pc:spChg chg="del mod ord">
          <ac:chgData name="Daniel Hamann" userId="847c405c-7417-4257-a34f-58113b877d74" providerId="ADAL" clId="{919764FA-1775-44B6-BB7D-8A0C365D0EE5}" dt="2022-04-05T09:33:43.537" v="207" actId="700"/>
          <ac:spMkLst>
            <pc:docMk/>
            <pc:sldMk cId="3406666726" sldId="428"/>
            <ac:spMk id="2" creationId="{95C9AE93-7D9B-4401-9FCB-2AEFF1ED390A}"/>
          </ac:spMkLst>
        </pc:spChg>
        <pc:spChg chg="mod ord">
          <ac:chgData name="Daniel Hamann" userId="847c405c-7417-4257-a34f-58113b877d74" providerId="ADAL" clId="{919764FA-1775-44B6-BB7D-8A0C365D0EE5}" dt="2022-04-05T09:33:43.537" v="207" actId="700"/>
          <ac:spMkLst>
            <pc:docMk/>
            <pc:sldMk cId="3406666726" sldId="428"/>
            <ac:spMk id="3" creationId="{1F4D5F3E-D201-4C7A-9407-E39025F1533B}"/>
          </ac:spMkLst>
        </pc:spChg>
        <pc:spChg chg="del mod ord">
          <ac:chgData name="Daniel Hamann" userId="847c405c-7417-4257-a34f-58113b877d74" providerId="ADAL" clId="{919764FA-1775-44B6-BB7D-8A0C365D0EE5}" dt="2022-04-05T09:33:43.537" v="207" actId="700"/>
          <ac:spMkLst>
            <pc:docMk/>
            <pc:sldMk cId="3406666726" sldId="428"/>
            <ac:spMk id="4" creationId="{8153FC4A-28BA-4063-A367-DB303DBDAAE2}"/>
          </ac:spMkLst>
        </pc:spChg>
        <pc:spChg chg="del mod ord">
          <ac:chgData name="Daniel Hamann" userId="847c405c-7417-4257-a34f-58113b877d74" providerId="ADAL" clId="{919764FA-1775-44B6-BB7D-8A0C365D0EE5}" dt="2022-04-05T09:33:43.537" v="207" actId="700"/>
          <ac:spMkLst>
            <pc:docMk/>
            <pc:sldMk cId="3406666726" sldId="428"/>
            <ac:spMk id="5" creationId="{3CB0352B-93BF-4D1E-97F7-BF459D267A75}"/>
          </ac:spMkLst>
        </pc:spChg>
        <pc:spChg chg="mod ord">
          <ac:chgData name="Daniel Hamann" userId="847c405c-7417-4257-a34f-58113b877d74" providerId="ADAL" clId="{919764FA-1775-44B6-BB7D-8A0C365D0EE5}" dt="2022-04-05T09:33:43.537" v="207" actId="700"/>
          <ac:spMkLst>
            <pc:docMk/>
            <pc:sldMk cId="3406666726" sldId="428"/>
            <ac:spMk id="6" creationId="{AF8EAC61-3C64-4CF2-AE56-F3913C7E7E44}"/>
          </ac:spMkLst>
        </pc:spChg>
        <pc:spChg chg="add mod ord">
          <ac:chgData name="Daniel Hamann" userId="847c405c-7417-4257-a34f-58113b877d74" providerId="ADAL" clId="{919764FA-1775-44B6-BB7D-8A0C365D0EE5}" dt="2022-04-05T09:33:43.537" v="207" actId="700"/>
          <ac:spMkLst>
            <pc:docMk/>
            <pc:sldMk cId="3406666726" sldId="428"/>
            <ac:spMk id="7" creationId="{D50CC3DF-8961-49F8-90D9-F547AFEE9186}"/>
          </ac:spMkLst>
        </pc:spChg>
        <pc:spChg chg="add mod ord">
          <ac:chgData name="Daniel Hamann" userId="847c405c-7417-4257-a34f-58113b877d74" providerId="ADAL" clId="{919764FA-1775-44B6-BB7D-8A0C365D0EE5}" dt="2022-04-05T09:33:43.537" v="207" actId="700"/>
          <ac:spMkLst>
            <pc:docMk/>
            <pc:sldMk cId="3406666726" sldId="428"/>
            <ac:spMk id="8" creationId="{82386CFA-D341-49FB-A188-F1C1F6015781}"/>
          </ac:spMkLst>
        </pc:spChg>
        <pc:spChg chg="add mod ord">
          <ac:chgData name="Daniel Hamann" userId="847c405c-7417-4257-a34f-58113b877d74" providerId="ADAL" clId="{919764FA-1775-44B6-BB7D-8A0C365D0EE5}" dt="2022-04-05T09:33:43.537" v="207" actId="700"/>
          <ac:spMkLst>
            <pc:docMk/>
            <pc:sldMk cId="3406666726" sldId="428"/>
            <ac:spMk id="9" creationId="{D9614D97-67F5-405E-A1F8-19E97372C175}"/>
          </ac:spMkLst>
        </pc:spChg>
        <pc:spChg chg="add mod ord">
          <ac:chgData name="Daniel Hamann" userId="847c405c-7417-4257-a34f-58113b877d74" providerId="ADAL" clId="{919764FA-1775-44B6-BB7D-8A0C365D0EE5}" dt="2022-04-05T09:33:43.537" v="207" actId="700"/>
          <ac:spMkLst>
            <pc:docMk/>
            <pc:sldMk cId="3406666726" sldId="428"/>
            <ac:spMk id="10" creationId="{3F189A5D-5DEC-4792-AEEE-C61F5CAA8354}"/>
          </ac:spMkLst>
        </pc:spChg>
      </pc:sldChg>
      <pc:sldChg chg="modSp add mod">
        <pc:chgData name="Daniel Hamann" userId="847c405c-7417-4257-a34f-58113b877d74" providerId="ADAL" clId="{919764FA-1775-44B6-BB7D-8A0C365D0EE5}" dt="2022-04-05T09:33:30.857" v="205"/>
        <pc:sldMkLst>
          <pc:docMk/>
          <pc:sldMk cId="2201740257" sldId="429"/>
        </pc:sldMkLst>
        <pc:spChg chg="mod">
          <ac:chgData name="Daniel Hamann" userId="847c405c-7417-4257-a34f-58113b877d74" providerId="ADAL" clId="{919764FA-1775-44B6-BB7D-8A0C365D0EE5}" dt="2022-04-05T09:33:02.541" v="198"/>
          <ac:spMkLst>
            <pc:docMk/>
            <pc:sldMk cId="2201740257" sldId="429"/>
            <ac:spMk id="179" creationId="{BA596FC9-79E8-4C8F-B716-4B680640466C}"/>
          </ac:spMkLst>
        </pc:spChg>
        <pc:spChg chg="mod">
          <ac:chgData name="Daniel Hamann" userId="847c405c-7417-4257-a34f-58113b877d74" providerId="ADAL" clId="{919764FA-1775-44B6-BB7D-8A0C365D0EE5}" dt="2022-04-05T09:33:19.987" v="203"/>
          <ac:spMkLst>
            <pc:docMk/>
            <pc:sldMk cId="2201740257" sldId="429"/>
            <ac:spMk id="182" creationId="{BA714521-F0A9-44FA-B5A8-FD27D3EFC840}"/>
          </ac:spMkLst>
        </pc:spChg>
        <pc:spChg chg="mod">
          <ac:chgData name="Daniel Hamann" userId="847c405c-7417-4257-a34f-58113b877d74" providerId="ADAL" clId="{919764FA-1775-44B6-BB7D-8A0C365D0EE5}" dt="2022-04-05T09:33:24.911" v="204"/>
          <ac:spMkLst>
            <pc:docMk/>
            <pc:sldMk cId="2201740257" sldId="429"/>
            <ac:spMk id="191" creationId="{7ECDB696-7E06-4989-9BAE-8071ABC83A16}"/>
          </ac:spMkLst>
        </pc:spChg>
        <pc:spChg chg="mod">
          <ac:chgData name="Daniel Hamann" userId="847c405c-7417-4257-a34f-58113b877d74" providerId="ADAL" clId="{919764FA-1775-44B6-BB7D-8A0C365D0EE5}" dt="2022-04-05T09:33:07.849" v="199"/>
          <ac:spMkLst>
            <pc:docMk/>
            <pc:sldMk cId="2201740257" sldId="429"/>
            <ac:spMk id="197" creationId="{85D1901C-874E-4D64-B494-BF73E5D9949F}"/>
          </ac:spMkLst>
        </pc:spChg>
        <pc:spChg chg="mod">
          <ac:chgData name="Daniel Hamann" userId="847c405c-7417-4257-a34f-58113b877d74" providerId="ADAL" clId="{919764FA-1775-44B6-BB7D-8A0C365D0EE5}" dt="2022-04-05T09:33:13.267" v="200"/>
          <ac:spMkLst>
            <pc:docMk/>
            <pc:sldMk cId="2201740257" sldId="429"/>
            <ac:spMk id="200" creationId="{E72D0F0E-AAD2-486F-8138-31245D0542B4}"/>
          </ac:spMkLst>
        </pc:spChg>
        <pc:spChg chg="mod">
          <ac:chgData name="Daniel Hamann" userId="847c405c-7417-4257-a34f-58113b877d74" providerId="ADAL" clId="{919764FA-1775-44B6-BB7D-8A0C365D0EE5}" dt="2022-04-05T09:33:30.857" v="205"/>
          <ac:spMkLst>
            <pc:docMk/>
            <pc:sldMk cId="2201740257" sldId="429"/>
            <ac:spMk id="203" creationId="{759F80D8-6C58-4E1A-B555-224CA4CA6B5B}"/>
          </ac:spMkLst>
        </pc:spChg>
      </pc:sldChg>
      <pc:sldChg chg="addSp delSp modSp add mod modAnim">
        <pc:chgData name="Daniel Hamann" userId="847c405c-7417-4257-a34f-58113b877d74" providerId="ADAL" clId="{919764FA-1775-44B6-BB7D-8A0C365D0EE5}" dt="2022-04-05T09:59:37.911" v="320" actId="14100"/>
        <pc:sldMkLst>
          <pc:docMk/>
          <pc:sldMk cId="911211050" sldId="430"/>
        </pc:sldMkLst>
        <pc:spChg chg="mod">
          <ac:chgData name="Daniel Hamann" userId="847c405c-7417-4257-a34f-58113b877d74" providerId="ADAL" clId="{919764FA-1775-44B6-BB7D-8A0C365D0EE5}" dt="2022-04-05T09:34:12.918" v="247" actId="20577"/>
          <ac:spMkLst>
            <pc:docMk/>
            <pc:sldMk cId="911211050" sldId="430"/>
            <ac:spMk id="6" creationId="{AF8EAC61-3C64-4CF2-AE56-F3913C7E7E44}"/>
          </ac:spMkLst>
        </pc:spChg>
        <pc:spChg chg="del">
          <ac:chgData name="Daniel Hamann" userId="847c405c-7417-4257-a34f-58113b877d74" providerId="ADAL" clId="{919764FA-1775-44B6-BB7D-8A0C365D0EE5}" dt="2022-04-05T09:59:22.822" v="314"/>
          <ac:spMkLst>
            <pc:docMk/>
            <pc:sldMk cId="911211050" sldId="430"/>
            <ac:spMk id="8" creationId="{82386CFA-D341-49FB-A188-F1C1F6015781}"/>
          </ac:spMkLst>
        </pc:spChg>
        <pc:spChg chg="mod">
          <ac:chgData name="Daniel Hamann" userId="847c405c-7417-4257-a34f-58113b877d74" providerId="ADAL" clId="{919764FA-1775-44B6-BB7D-8A0C365D0EE5}" dt="2022-04-05T09:59:37.911" v="320" actId="14100"/>
          <ac:spMkLst>
            <pc:docMk/>
            <pc:sldMk cId="911211050" sldId="430"/>
            <ac:spMk id="9" creationId="{D9614D97-67F5-405E-A1F8-19E97372C175}"/>
          </ac:spMkLst>
        </pc:spChg>
        <pc:picChg chg="add mod">
          <ac:chgData name="Daniel Hamann" userId="847c405c-7417-4257-a34f-58113b877d74" providerId="ADAL" clId="{919764FA-1775-44B6-BB7D-8A0C365D0EE5}" dt="2022-04-05T09:59:27.718" v="317" actId="1076"/>
          <ac:picMkLst>
            <pc:docMk/>
            <pc:sldMk cId="911211050" sldId="430"/>
            <ac:picMk id="4" creationId="{1728B4A4-854F-45C9-8EBC-B6CEF0CED966}"/>
          </ac:picMkLst>
        </pc:picChg>
        <pc:picChg chg="add mod">
          <ac:chgData name="Daniel Hamann" userId="847c405c-7417-4257-a34f-58113b877d74" providerId="ADAL" clId="{919764FA-1775-44B6-BB7D-8A0C365D0EE5}" dt="2022-04-05T09:59:29.632" v="318" actId="1076"/>
          <ac:picMkLst>
            <pc:docMk/>
            <pc:sldMk cId="911211050" sldId="430"/>
            <ac:picMk id="5" creationId="{D6C04CBF-A0D5-40C3-807A-7592D9AC61DC}"/>
          </ac:picMkLst>
        </pc:picChg>
      </pc:sldChg>
      <pc:sldChg chg="modSp add mod">
        <pc:chgData name="Daniel Hamann" userId="847c405c-7417-4257-a34f-58113b877d74" providerId="ADAL" clId="{919764FA-1775-44B6-BB7D-8A0C365D0EE5}" dt="2022-04-05T09:34:19.903" v="260" actId="20577"/>
        <pc:sldMkLst>
          <pc:docMk/>
          <pc:sldMk cId="92348239" sldId="431"/>
        </pc:sldMkLst>
        <pc:spChg chg="mod">
          <ac:chgData name="Daniel Hamann" userId="847c405c-7417-4257-a34f-58113b877d74" providerId="ADAL" clId="{919764FA-1775-44B6-BB7D-8A0C365D0EE5}" dt="2022-04-05T09:34:19.903" v="260" actId="20577"/>
          <ac:spMkLst>
            <pc:docMk/>
            <pc:sldMk cId="92348239" sldId="431"/>
            <ac:spMk id="6" creationId="{AF8EAC61-3C64-4CF2-AE56-F3913C7E7E44}"/>
          </ac:spMkLst>
        </pc:spChg>
      </pc:sldChg>
      <pc:sldChg chg="modSp add mod">
        <pc:chgData name="Daniel Hamann" userId="847c405c-7417-4257-a34f-58113b877d74" providerId="ADAL" clId="{919764FA-1775-44B6-BB7D-8A0C365D0EE5}" dt="2022-04-05T09:34:29.280" v="283" actId="20577"/>
        <pc:sldMkLst>
          <pc:docMk/>
          <pc:sldMk cId="3352904881" sldId="432"/>
        </pc:sldMkLst>
        <pc:spChg chg="mod">
          <ac:chgData name="Daniel Hamann" userId="847c405c-7417-4257-a34f-58113b877d74" providerId="ADAL" clId="{919764FA-1775-44B6-BB7D-8A0C365D0EE5}" dt="2022-04-05T09:34:29.280" v="283" actId="20577"/>
          <ac:spMkLst>
            <pc:docMk/>
            <pc:sldMk cId="3352904881" sldId="432"/>
            <ac:spMk id="6" creationId="{AF8EAC61-3C64-4CF2-AE56-F3913C7E7E44}"/>
          </ac:spMkLst>
        </pc:spChg>
      </pc:sldChg>
      <pc:sldChg chg="modSp add mod">
        <pc:chgData name="Daniel Hamann" userId="847c405c-7417-4257-a34f-58113b877d74" providerId="ADAL" clId="{919764FA-1775-44B6-BB7D-8A0C365D0EE5}" dt="2022-04-05T09:34:37.229" v="290" actId="20577"/>
        <pc:sldMkLst>
          <pc:docMk/>
          <pc:sldMk cId="3056604384" sldId="433"/>
        </pc:sldMkLst>
        <pc:spChg chg="mod">
          <ac:chgData name="Daniel Hamann" userId="847c405c-7417-4257-a34f-58113b877d74" providerId="ADAL" clId="{919764FA-1775-44B6-BB7D-8A0C365D0EE5}" dt="2022-04-05T09:34:37.229" v="290" actId="20577"/>
          <ac:spMkLst>
            <pc:docMk/>
            <pc:sldMk cId="3056604384" sldId="433"/>
            <ac:spMk id="6" creationId="{AF8EAC61-3C64-4CF2-AE56-F3913C7E7E44}"/>
          </ac:spMkLst>
        </pc:spChg>
      </pc:sldChg>
      <pc:sldChg chg="add del">
        <pc:chgData name="Daniel Hamann" userId="847c405c-7417-4257-a34f-58113b877d74" providerId="ADAL" clId="{919764FA-1775-44B6-BB7D-8A0C365D0EE5}" dt="2022-04-05T09:34:39.926" v="291" actId="2696"/>
        <pc:sldMkLst>
          <pc:docMk/>
          <pc:sldMk cId="2597808" sldId="434"/>
        </pc:sldMkLst>
      </pc:sldChg>
      <pc:sldChg chg="addSp delSp modSp add mod modAnim chgLayout">
        <pc:chgData name="Daniel Hamann" userId="847c405c-7417-4257-a34f-58113b877d74" providerId="ADAL" clId="{919764FA-1775-44B6-BB7D-8A0C365D0EE5}" dt="2022-04-05T09:38:30.264" v="311"/>
        <pc:sldMkLst>
          <pc:docMk/>
          <pc:sldMk cId="1062719980" sldId="434"/>
        </pc:sldMkLst>
        <pc:spChg chg="mod ord">
          <ac:chgData name="Daniel Hamann" userId="847c405c-7417-4257-a34f-58113b877d74" providerId="ADAL" clId="{919764FA-1775-44B6-BB7D-8A0C365D0EE5}" dt="2022-04-05T09:37:16.385" v="309" actId="700"/>
          <ac:spMkLst>
            <pc:docMk/>
            <pc:sldMk cId="1062719980" sldId="434"/>
            <ac:spMk id="3" creationId="{1F4D5F3E-D201-4C7A-9407-E39025F1533B}"/>
          </ac:spMkLst>
        </pc:spChg>
        <pc:spChg chg="add mod ord">
          <ac:chgData name="Daniel Hamann" userId="847c405c-7417-4257-a34f-58113b877d74" providerId="ADAL" clId="{919764FA-1775-44B6-BB7D-8A0C365D0EE5}" dt="2022-04-05T09:37:16.385" v="309" actId="700"/>
          <ac:spMkLst>
            <pc:docMk/>
            <pc:sldMk cId="1062719980" sldId="434"/>
            <ac:spMk id="4" creationId="{9294021A-F930-41F7-BD5C-24C1B4D74B5C}"/>
          </ac:spMkLst>
        </pc:spChg>
        <pc:spChg chg="add mod ord">
          <ac:chgData name="Daniel Hamann" userId="847c405c-7417-4257-a34f-58113b877d74" providerId="ADAL" clId="{919764FA-1775-44B6-BB7D-8A0C365D0EE5}" dt="2022-04-05T09:37:29.266" v="310" actId="1076"/>
          <ac:spMkLst>
            <pc:docMk/>
            <pc:sldMk cId="1062719980" sldId="434"/>
            <ac:spMk id="5" creationId="{DBA6B9EE-6AAF-4996-AE25-E0B3B6BEEB3F}"/>
          </ac:spMkLst>
        </pc:spChg>
        <pc:spChg chg="mod ord">
          <ac:chgData name="Daniel Hamann" userId="847c405c-7417-4257-a34f-58113b877d74" providerId="ADAL" clId="{919764FA-1775-44B6-BB7D-8A0C365D0EE5}" dt="2022-04-05T09:37:16.385" v="309" actId="700"/>
          <ac:spMkLst>
            <pc:docMk/>
            <pc:sldMk cId="1062719980" sldId="434"/>
            <ac:spMk id="6" creationId="{AF8EAC61-3C64-4CF2-AE56-F3913C7E7E44}"/>
          </ac:spMkLst>
        </pc:spChg>
        <pc:spChg chg="del">
          <ac:chgData name="Daniel Hamann" userId="847c405c-7417-4257-a34f-58113b877d74" providerId="ADAL" clId="{919764FA-1775-44B6-BB7D-8A0C365D0EE5}" dt="2022-04-05T09:37:16.385" v="309" actId="700"/>
          <ac:spMkLst>
            <pc:docMk/>
            <pc:sldMk cId="1062719980" sldId="434"/>
            <ac:spMk id="7" creationId="{D50CC3DF-8961-49F8-90D9-F547AFEE9186}"/>
          </ac:spMkLst>
        </pc:spChg>
        <pc:spChg chg="del">
          <ac:chgData name="Daniel Hamann" userId="847c405c-7417-4257-a34f-58113b877d74" providerId="ADAL" clId="{919764FA-1775-44B6-BB7D-8A0C365D0EE5}" dt="2022-04-05T09:36:30.257" v="304"/>
          <ac:spMkLst>
            <pc:docMk/>
            <pc:sldMk cId="1062719980" sldId="434"/>
            <ac:spMk id="8" creationId="{82386CFA-D341-49FB-A188-F1C1F6015781}"/>
          </ac:spMkLst>
        </pc:spChg>
        <pc:spChg chg="del">
          <ac:chgData name="Daniel Hamann" userId="847c405c-7417-4257-a34f-58113b877d74" providerId="ADAL" clId="{919764FA-1775-44B6-BB7D-8A0C365D0EE5}" dt="2022-04-05T09:37:10.564" v="308" actId="478"/>
          <ac:spMkLst>
            <pc:docMk/>
            <pc:sldMk cId="1062719980" sldId="434"/>
            <ac:spMk id="9" creationId="{D9614D97-67F5-405E-A1F8-19E97372C175}"/>
          </ac:spMkLst>
        </pc:spChg>
        <pc:spChg chg="del">
          <ac:chgData name="Daniel Hamann" userId="847c405c-7417-4257-a34f-58113b877d74" providerId="ADAL" clId="{919764FA-1775-44B6-BB7D-8A0C365D0EE5}" dt="2022-04-05T09:37:16.385" v="309" actId="700"/>
          <ac:spMkLst>
            <pc:docMk/>
            <pc:sldMk cId="1062719980" sldId="434"/>
            <ac:spMk id="10" creationId="{3F189A5D-5DEC-4792-AEEE-C61F5CAA8354}"/>
          </ac:spMkLst>
        </pc:spChg>
        <pc:spChg chg="add mod ord">
          <ac:chgData name="Daniel Hamann" userId="847c405c-7417-4257-a34f-58113b877d74" providerId="ADAL" clId="{919764FA-1775-44B6-BB7D-8A0C365D0EE5}" dt="2022-04-05T09:37:16.385" v="309" actId="700"/>
          <ac:spMkLst>
            <pc:docMk/>
            <pc:sldMk cId="1062719980" sldId="434"/>
            <ac:spMk id="11" creationId="{088BF6E9-83BC-40A3-B30D-DF1B013A8AD2}"/>
          </ac:spMkLst>
        </pc:spChg>
        <pc:picChg chg="add mod ord">
          <ac:chgData name="Daniel Hamann" userId="847c405c-7417-4257-a34f-58113b877d74" providerId="ADAL" clId="{919764FA-1775-44B6-BB7D-8A0C365D0EE5}" dt="2022-04-05T09:37:16.385" v="309" actId="700"/>
          <ac:picMkLst>
            <pc:docMk/>
            <pc:sldMk cId="1062719980" sldId="434"/>
            <ac:picMk id="2" creationId="{67D6E333-437D-4975-B487-878A0A68DF3A}"/>
          </ac:picMkLst>
        </pc:picChg>
      </pc:sldChg>
    </pc:docChg>
  </pc:docChgLst>
  <pc:docChgLst>
    <pc:chgData name="Daniel Hamann" userId="847c405c-7417-4257-a34f-58113b877d74" providerId="ADAL" clId="{1173E080-8BED-4155-9D29-857F04B3702D}"/>
    <pc:docChg chg="undo custSel addSld delSld modSld sldOrd delSection modSection">
      <pc:chgData name="Daniel Hamann" userId="847c405c-7417-4257-a34f-58113b877d74" providerId="ADAL" clId="{1173E080-8BED-4155-9D29-857F04B3702D}" dt="2022-04-13T09:16:46.429" v="3684" actId="6549"/>
      <pc:docMkLst>
        <pc:docMk/>
      </pc:docMkLst>
      <pc:sldChg chg="del">
        <pc:chgData name="Daniel Hamann" userId="847c405c-7417-4257-a34f-58113b877d74" providerId="ADAL" clId="{1173E080-8BED-4155-9D29-857F04B3702D}" dt="2022-04-12T17:06:32.941" v="1260" actId="18676"/>
        <pc:sldMkLst>
          <pc:docMk/>
          <pc:sldMk cId="947004393" sldId="336"/>
        </pc:sldMkLst>
      </pc:sldChg>
      <pc:sldChg chg="del">
        <pc:chgData name="Daniel Hamann" userId="847c405c-7417-4257-a34f-58113b877d74" providerId="ADAL" clId="{1173E080-8BED-4155-9D29-857F04B3702D}" dt="2022-04-12T17:06:32.941" v="1260" actId="18676"/>
        <pc:sldMkLst>
          <pc:docMk/>
          <pc:sldMk cId="4155269180" sldId="337"/>
        </pc:sldMkLst>
      </pc:sldChg>
      <pc:sldChg chg="del">
        <pc:chgData name="Daniel Hamann" userId="847c405c-7417-4257-a34f-58113b877d74" providerId="ADAL" clId="{1173E080-8BED-4155-9D29-857F04B3702D}" dt="2022-04-12T17:06:32.941" v="1260" actId="18676"/>
        <pc:sldMkLst>
          <pc:docMk/>
          <pc:sldMk cId="3419691827" sldId="338"/>
        </pc:sldMkLst>
      </pc:sldChg>
      <pc:sldChg chg="del">
        <pc:chgData name="Daniel Hamann" userId="847c405c-7417-4257-a34f-58113b877d74" providerId="ADAL" clId="{1173E080-8BED-4155-9D29-857F04B3702D}" dt="2022-04-12T17:06:32.941" v="1260" actId="18676"/>
        <pc:sldMkLst>
          <pc:docMk/>
          <pc:sldMk cId="3038720959" sldId="339"/>
        </pc:sldMkLst>
      </pc:sldChg>
      <pc:sldChg chg="del">
        <pc:chgData name="Daniel Hamann" userId="847c405c-7417-4257-a34f-58113b877d74" providerId="ADAL" clId="{1173E080-8BED-4155-9D29-857F04B3702D}" dt="2022-04-12T17:06:32.941" v="1260" actId="18676"/>
        <pc:sldMkLst>
          <pc:docMk/>
          <pc:sldMk cId="254456047" sldId="340"/>
        </pc:sldMkLst>
      </pc:sldChg>
      <pc:sldChg chg="del">
        <pc:chgData name="Daniel Hamann" userId="847c405c-7417-4257-a34f-58113b877d74" providerId="ADAL" clId="{1173E080-8BED-4155-9D29-857F04B3702D}" dt="2022-04-12T17:06:32.941" v="1260" actId="18676"/>
        <pc:sldMkLst>
          <pc:docMk/>
          <pc:sldMk cId="1370879864" sldId="341"/>
        </pc:sldMkLst>
      </pc:sldChg>
      <pc:sldChg chg="del">
        <pc:chgData name="Daniel Hamann" userId="847c405c-7417-4257-a34f-58113b877d74" providerId="ADAL" clId="{1173E080-8BED-4155-9D29-857F04B3702D}" dt="2022-04-12T17:06:32.941" v="1260" actId="18676"/>
        <pc:sldMkLst>
          <pc:docMk/>
          <pc:sldMk cId="684844852" sldId="343"/>
        </pc:sldMkLst>
      </pc:sldChg>
      <pc:sldChg chg="del">
        <pc:chgData name="Daniel Hamann" userId="847c405c-7417-4257-a34f-58113b877d74" providerId="ADAL" clId="{1173E080-8BED-4155-9D29-857F04B3702D}" dt="2022-04-12T17:06:32.941" v="1260" actId="18676"/>
        <pc:sldMkLst>
          <pc:docMk/>
          <pc:sldMk cId="31543976" sldId="344"/>
        </pc:sldMkLst>
      </pc:sldChg>
      <pc:sldChg chg="del">
        <pc:chgData name="Daniel Hamann" userId="847c405c-7417-4257-a34f-58113b877d74" providerId="ADAL" clId="{1173E080-8BED-4155-9D29-857F04B3702D}" dt="2022-04-12T17:06:32.941" v="1260" actId="18676"/>
        <pc:sldMkLst>
          <pc:docMk/>
          <pc:sldMk cId="1835701110" sldId="345"/>
        </pc:sldMkLst>
      </pc:sldChg>
      <pc:sldChg chg="del">
        <pc:chgData name="Daniel Hamann" userId="847c405c-7417-4257-a34f-58113b877d74" providerId="ADAL" clId="{1173E080-8BED-4155-9D29-857F04B3702D}" dt="2022-04-12T17:06:32.941" v="1260" actId="18676"/>
        <pc:sldMkLst>
          <pc:docMk/>
          <pc:sldMk cId="1524813662" sldId="346"/>
        </pc:sldMkLst>
      </pc:sldChg>
      <pc:sldChg chg="del">
        <pc:chgData name="Daniel Hamann" userId="847c405c-7417-4257-a34f-58113b877d74" providerId="ADAL" clId="{1173E080-8BED-4155-9D29-857F04B3702D}" dt="2022-04-12T17:06:32.941" v="1260" actId="18676"/>
        <pc:sldMkLst>
          <pc:docMk/>
          <pc:sldMk cId="336045514" sldId="347"/>
        </pc:sldMkLst>
      </pc:sldChg>
      <pc:sldChg chg="del">
        <pc:chgData name="Daniel Hamann" userId="847c405c-7417-4257-a34f-58113b877d74" providerId="ADAL" clId="{1173E080-8BED-4155-9D29-857F04B3702D}" dt="2022-04-12T17:06:32.941" v="1260" actId="18676"/>
        <pc:sldMkLst>
          <pc:docMk/>
          <pc:sldMk cId="3315295276" sldId="348"/>
        </pc:sldMkLst>
      </pc:sldChg>
      <pc:sldChg chg="del">
        <pc:chgData name="Daniel Hamann" userId="847c405c-7417-4257-a34f-58113b877d74" providerId="ADAL" clId="{1173E080-8BED-4155-9D29-857F04B3702D}" dt="2022-04-12T17:06:32.941" v="1260" actId="18676"/>
        <pc:sldMkLst>
          <pc:docMk/>
          <pc:sldMk cId="745662442" sldId="349"/>
        </pc:sldMkLst>
      </pc:sldChg>
      <pc:sldChg chg="del">
        <pc:chgData name="Daniel Hamann" userId="847c405c-7417-4257-a34f-58113b877d74" providerId="ADAL" clId="{1173E080-8BED-4155-9D29-857F04B3702D}" dt="2022-04-12T17:06:32.941" v="1260" actId="18676"/>
        <pc:sldMkLst>
          <pc:docMk/>
          <pc:sldMk cId="3354830306" sldId="350"/>
        </pc:sldMkLst>
      </pc:sldChg>
      <pc:sldChg chg="del">
        <pc:chgData name="Daniel Hamann" userId="847c405c-7417-4257-a34f-58113b877d74" providerId="ADAL" clId="{1173E080-8BED-4155-9D29-857F04B3702D}" dt="2022-04-12T17:06:32.941" v="1260" actId="18676"/>
        <pc:sldMkLst>
          <pc:docMk/>
          <pc:sldMk cId="1466448892" sldId="351"/>
        </pc:sldMkLst>
      </pc:sldChg>
      <pc:sldChg chg="del">
        <pc:chgData name="Daniel Hamann" userId="847c405c-7417-4257-a34f-58113b877d74" providerId="ADAL" clId="{1173E080-8BED-4155-9D29-857F04B3702D}" dt="2022-04-12T17:06:32.941" v="1260" actId="18676"/>
        <pc:sldMkLst>
          <pc:docMk/>
          <pc:sldMk cId="2704760124" sldId="352"/>
        </pc:sldMkLst>
      </pc:sldChg>
      <pc:sldChg chg="del">
        <pc:chgData name="Daniel Hamann" userId="847c405c-7417-4257-a34f-58113b877d74" providerId="ADAL" clId="{1173E080-8BED-4155-9D29-857F04B3702D}" dt="2022-04-12T17:06:32.941" v="1260" actId="18676"/>
        <pc:sldMkLst>
          <pc:docMk/>
          <pc:sldMk cId="2191268248" sldId="353"/>
        </pc:sldMkLst>
      </pc:sldChg>
      <pc:sldChg chg="del">
        <pc:chgData name="Daniel Hamann" userId="847c405c-7417-4257-a34f-58113b877d74" providerId="ADAL" clId="{1173E080-8BED-4155-9D29-857F04B3702D}" dt="2022-04-12T17:06:32.941" v="1260" actId="18676"/>
        <pc:sldMkLst>
          <pc:docMk/>
          <pc:sldMk cId="2037418230" sldId="354"/>
        </pc:sldMkLst>
      </pc:sldChg>
      <pc:sldChg chg="del">
        <pc:chgData name="Daniel Hamann" userId="847c405c-7417-4257-a34f-58113b877d74" providerId="ADAL" clId="{1173E080-8BED-4155-9D29-857F04B3702D}" dt="2022-04-12T17:06:32.941" v="1260" actId="18676"/>
        <pc:sldMkLst>
          <pc:docMk/>
          <pc:sldMk cId="302905050" sldId="355"/>
        </pc:sldMkLst>
      </pc:sldChg>
      <pc:sldChg chg="del">
        <pc:chgData name="Daniel Hamann" userId="847c405c-7417-4257-a34f-58113b877d74" providerId="ADAL" clId="{1173E080-8BED-4155-9D29-857F04B3702D}" dt="2022-04-12T17:06:32.941" v="1260" actId="18676"/>
        <pc:sldMkLst>
          <pc:docMk/>
          <pc:sldMk cId="2187347484" sldId="356"/>
        </pc:sldMkLst>
      </pc:sldChg>
      <pc:sldChg chg="del">
        <pc:chgData name="Daniel Hamann" userId="847c405c-7417-4257-a34f-58113b877d74" providerId="ADAL" clId="{1173E080-8BED-4155-9D29-857F04B3702D}" dt="2022-04-12T17:06:32.941" v="1260" actId="18676"/>
        <pc:sldMkLst>
          <pc:docMk/>
          <pc:sldMk cId="1630686082" sldId="359"/>
        </pc:sldMkLst>
      </pc:sldChg>
      <pc:sldChg chg="del">
        <pc:chgData name="Daniel Hamann" userId="847c405c-7417-4257-a34f-58113b877d74" providerId="ADAL" clId="{1173E080-8BED-4155-9D29-857F04B3702D}" dt="2022-04-12T17:06:32.941" v="1260" actId="18676"/>
        <pc:sldMkLst>
          <pc:docMk/>
          <pc:sldMk cId="4197691444" sldId="360"/>
        </pc:sldMkLst>
      </pc:sldChg>
      <pc:sldChg chg="del">
        <pc:chgData name="Daniel Hamann" userId="847c405c-7417-4257-a34f-58113b877d74" providerId="ADAL" clId="{1173E080-8BED-4155-9D29-857F04B3702D}" dt="2022-04-12T17:06:32.941" v="1260" actId="18676"/>
        <pc:sldMkLst>
          <pc:docMk/>
          <pc:sldMk cId="206669884" sldId="361"/>
        </pc:sldMkLst>
      </pc:sldChg>
      <pc:sldChg chg="del">
        <pc:chgData name="Daniel Hamann" userId="847c405c-7417-4257-a34f-58113b877d74" providerId="ADAL" clId="{1173E080-8BED-4155-9D29-857F04B3702D}" dt="2022-04-12T17:06:32.941" v="1260" actId="18676"/>
        <pc:sldMkLst>
          <pc:docMk/>
          <pc:sldMk cId="1326743884" sldId="362"/>
        </pc:sldMkLst>
      </pc:sldChg>
      <pc:sldChg chg="del">
        <pc:chgData name="Daniel Hamann" userId="847c405c-7417-4257-a34f-58113b877d74" providerId="ADAL" clId="{1173E080-8BED-4155-9D29-857F04B3702D}" dt="2022-04-12T17:06:32.941" v="1260" actId="18676"/>
        <pc:sldMkLst>
          <pc:docMk/>
          <pc:sldMk cId="19210300" sldId="363"/>
        </pc:sldMkLst>
      </pc:sldChg>
      <pc:sldChg chg="del">
        <pc:chgData name="Daniel Hamann" userId="847c405c-7417-4257-a34f-58113b877d74" providerId="ADAL" clId="{1173E080-8BED-4155-9D29-857F04B3702D}" dt="2022-04-12T17:06:32.941" v="1260" actId="18676"/>
        <pc:sldMkLst>
          <pc:docMk/>
          <pc:sldMk cId="33598816" sldId="364"/>
        </pc:sldMkLst>
      </pc:sldChg>
      <pc:sldChg chg="del">
        <pc:chgData name="Daniel Hamann" userId="847c405c-7417-4257-a34f-58113b877d74" providerId="ADAL" clId="{1173E080-8BED-4155-9D29-857F04B3702D}" dt="2022-04-12T17:06:32.941" v="1260" actId="18676"/>
        <pc:sldMkLst>
          <pc:docMk/>
          <pc:sldMk cId="1592159595" sldId="365"/>
        </pc:sldMkLst>
      </pc:sldChg>
      <pc:sldChg chg="modSp del mod">
        <pc:chgData name="Daniel Hamann" userId="847c405c-7417-4257-a34f-58113b877d74" providerId="ADAL" clId="{1173E080-8BED-4155-9D29-857F04B3702D}" dt="2022-04-13T09:15:19.311" v="3682" actId="18676"/>
        <pc:sldMkLst>
          <pc:docMk/>
          <pc:sldMk cId="3940856595" sldId="366"/>
        </pc:sldMkLst>
        <pc:picChg chg="mod">
          <ac:chgData name="Daniel Hamann" userId="847c405c-7417-4257-a34f-58113b877d74" providerId="ADAL" clId="{1173E080-8BED-4155-9D29-857F04B3702D}" dt="2022-04-13T07:54:11.598" v="1542" actId="1036"/>
          <ac:picMkLst>
            <pc:docMk/>
            <pc:sldMk cId="3940856595" sldId="366"/>
            <ac:picMk id="72" creationId="{F6FB54B9-652B-499F-85D8-FB0E9B439FF6}"/>
          </ac:picMkLst>
        </pc:picChg>
      </pc:sldChg>
      <pc:sldChg chg="del">
        <pc:chgData name="Daniel Hamann" userId="847c405c-7417-4257-a34f-58113b877d74" providerId="ADAL" clId="{1173E080-8BED-4155-9D29-857F04B3702D}" dt="2022-04-13T09:15:19.311" v="3682" actId="18676"/>
        <pc:sldMkLst>
          <pc:docMk/>
          <pc:sldMk cId="1014320215" sldId="367"/>
        </pc:sldMkLst>
      </pc:sldChg>
      <pc:sldChg chg="del">
        <pc:chgData name="Daniel Hamann" userId="847c405c-7417-4257-a34f-58113b877d74" providerId="ADAL" clId="{1173E080-8BED-4155-9D29-857F04B3702D}" dt="2022-04-13T09:15:19.311" v="3682" actId="18676"/>
        <pc:sldMkLst>
          <pc:docMk/>
          <pc:sldMk cId="874914692" sldId="368"/>
        </pc:sldMkLst>
      </pc:sldChg>
      <pc:sldChg chg="del">
        <pc:chgData name="Daniel Hamann" userId="847c405c-7417-4257-a34f-58113b877d74" providerId="ADAL" clId="{1173E080-8BED-4155-9D29-857F04B3702D}" dt="2022-04-13T09:15:19.311" v="3682" actId="18676"/>
        <pc:sldMkLst>
          <pc:docMk/>
          <pc:sldMk cId="2223883424" sldId="369"/>
        </pc:sldMkLst>
      </pc:sldChg>
      <pc:sldChg chg="del">
        <pc:chgData name="Daniel Hamann" userId="847c405c-7417-4257-a34f-58113b877d74" providerId="ADAL" clId="{1173E080-8BED-4155-9D29-857F04B3702D}" dt="2022-04-13T09:15:19.311" v="3682" actId="18676"/>
        <pc:sldMkLst>
          <pc:docMk/>
          <pc:sldMk cId="2086820258" sldId="372"/>
        </pc:sldMkLst>
      </pc:sldChg>
      <pc:sldChg chg="del">
        <pc:chgData name="Daniel Hamann" userId="847c405c-7417-4257-a34f-58113b877d74" providerId="ADAL" clId="{1173E080-8BED-4155-9D29-857F04B3702D}" dt="2022-04-13T09:15:19.311" v="3682" actId="18676"/>
        <pc:sldMkLst>
          <pc:docMk/>
          <pc:sldMk cId="1758373318" sldId="373"/>
        </pc:sldMkLst>
      </pc:sldChg>
      <pc:sldChg chg="addSp delSp modSp del mod">
        <pc:chgData name="Daniel Hamann" userId="847c405c-7417-4257-a34f-58113b877d74" providerId="ADAL" clId="{1173E080-8BED-4155-9D29-857F04B3702D}" dt="2022-04-13T09:15:19.311" v="3682" actId="18676"/>
        <pc:sldMkLst>
          <pc:docMk/>
          <pc:sldMk cId="3392096116" sldId="374"/>
        </pc:sldMkLst>
        <pc:picChg chg="add del mod">
          <ac:chgData name="Daniel Hamann" userId="847c405c-7417-4257-a34f-58113b877d74" providerId="ADAL" clId="{1173E080-8BED-4155-9D29-857F04B3702D}" dt="2022-04-13T08:05:33.337" v="1899" actId="21"/>
          <ac:picMkLst>
            <pc:docMk/>
            <pc:sldMk cId="3392096116" sldId="374"/>
            <ac:picMk id="3" creationId="{D0E8DFEC-5963-48BA-A46E-6A439261461E}"/>
          </ac:picMkLst>
        </pc:picChg>
      </pc:sldChg>
      <pc:sldChg chg="del">
        <pc:chgData name="Daniel Hamann" userId="847c405c-7417-4257-a34f-58113b877d74" providerId="ADAL" clId="{1173E080-8BED-4155-9D29-857F04B3702D}" dt="2022-04-13T09:15:19.311" v="3682" actId="18676"/>
        <pc:sldMkLst>
          <pc:docMk/>
          <pc:sldMk cId="3615068782" sldId="375"/>
        </pc:sldMkLst>
      </pc:sldChg>
      <pc:sldChg chg="del">
        <pc:chgData name="Daniel Hamann" userId="847c405c-7417-4257-a34f-58113b877d74" providerId="ADAL" clId="{1173E080-8BED-4155-9D29-857F04B3702D}" dt="2022-04-12T17:06:32.941" v="1260" actId="18676"/>
        <pc:sldMkLst>
          <pc:docMk/>
          <pc:sldMk cId="3852887038" sldId="376"/>
        </pc:sldMkLst>
      </pc:sldChg>
      <pc:sldChg chg="del">
        <pc:chgData name="Daniel Hamann" userId="847c405c-7417-4257-a34f-58113b877d74" providerId="ADAL" clId="{1173E080-8BED-4155-9D29-857F04B3702D}" dt="2022-04-12T17:06:32.941" v="1260" actId="18676"/>
        <pc:sldMkLst>
          <pc:docMk/>
          <pc:sldMk cId="2497184076" sldId="378"/>
        </pc:sldMkLst>
      </pc:sldChg>
      <pc:sldChg chg="del">
        <pc:chgData name="Daniel Hamann" userId="847c405c-7417-4257-a34f-58113b877d74" providerId="ADAL" clId="{1173E080-8BED-4155-9D29-857F04B3702D}" dt="2022-04-12T17:06:32.941" v="1260" actId="18676"/>
        <pc:sldMkLst>
          <pc:docMk/>
          <pc:sldMk cId="941330492" sldId="379"/>
        </pc:sldMkLst>
      </pc:sldChg>
      <pc:sldChg chg="del">
        <pc:chgData name="Daniel Hamann" userId="847c405c-7417-4257-a34f-58113b877d74" providerId="ADAL" clId="{1173E080-8BED-4155-9D29-857F04B3702D}" dt="2022-04-12T17:06:32.941" v="1260" actId="18676"/>
        <pc:sldMkLst>
          <pc:docMk/>
          <pc:sldMk cId="216177301" sldId="380"/>
        </pc:sldMkLst>
      </pc:sldChg>
      <pc:sldChg chg="del">
        <pc:chgData name="Daniel Hamann" userId="847c405c-7417-4257-a34f-58113b877d74" providerId="ADAL" clId="{1173E080-8BED-4155-9D29-857F04B3702D}" dt="2022-04-12T17:06:32.941" v="1260" actId="18676"/>
        <pc:sldMkLst>
          <pc:docMk/>
          <pc:sldMk cId="2169851743" sldId="382"/>
        </pc:sldMkLst>
      </pc:sldChg>
      <pc:sldChg chg="del">
        <pc:chgData name="Daniel Hamann" userId="847c405c-7417-4257-a34f-58113b877d74" providerId="ADAL" clId="{1173E080-8BED-4155-9D29-857F04B3702D}" dt="2022-04-12T17:06:32.941" v="1260" actId="18676"/>
        <pc:sldMkLst>
          <pc:docMk/>
          <pc:sldMk cId="1045533942" sldId="384"/>
        </pc:sldMkLst>
      </pc:sldChg>
      <pc:sldChg chg="del">
        <pc:chgData name="Daniel Hamann" userId="847c405c-7417-4257-a34f-58113b877d74" providerId="ADAL" clId="{1173E080-8BED-4155-9D29-857F04B3702D}" dt="2022-04-12T17:06:32.941" v="1260" actId="18676"/>
        <pc:sldMkLst>
          <pc:docMk/>
          <pc:sldMk cId="1769863677" sldId="385"/>
        </pc:sldMkLst>
      </pc:sldChg>
      <pc:sldChg chg="del">
        <pc:chgData name="Daniel Hamann" userId="847c405c-7417-4257-a34f-58113b877d74" providerId="ADAL" clId="{1173E080-8BED-4155-9D29-857F04B3702D}" dt="2022-04-12T17:06:32.941" v="1260" actId="18676"/>
        <pc:sldMkLst>
          <pc:docMk/>
          <pc:sldMk cId="904502109" sldId="386"/>
        </pc:sldMkLst>
      </pc:sldChg>
      <pc:sldChg chg="del">
        <pc:chgData name="Daniel Hamann" userId="847c405c-7417-4257-a34f-58113b877d74" providerId="ADAL" clId="{1173E080-8BED-4155-9D29-857F04B3702D}" dt="2022-04-12T17:06:32.941" v="1260" actId="18676"/>
        <pc:sldMkLst>
          <pc:docMk/>
          <pc:sldMk cId="1181553170" sldId="387"/>
        </pc:sldMkLst>
      </pc:sldChg>
      <pc:sldChg chg="del">
        <pc:chgData name="Daniel Hamann" userId="847c405c-7417-4257-a34f-58113b877d74" providerId="ADAL" clId="{1173E080-8BED-4155-9D29-857F04B3702D}" dt="2022-04-12T17:06:32.941" v="1260" actId="18676"/>
        <pc:sldMkLst>
          <pc:docMk/>
          <pc:sldMk cId="2311678989" sldId="388"/>
        </pc:sldMkLst>
      </pc:sldChg>
      <pc:sldChg chg="del">
        <pc:chgData name="Daniel Hamann" userId="847c405c-7417-4257-a34f-58113b877d74" providerId="ADAL" clId="{1173E080-8BED-4155-9D29-857F04B3702D}" dt="2022-04-12T17:06:32.941" v="1260" actId="18676"/>
        <pc:sldMkLst>
          <pc:docMk/>
          <pc:sldMk cId="1686671835" sldId="389"/>
        </pc:sldMkLst>
      </pc:sldChg>
      <pc:sldChg chg="del">
        <pc:chgData name="Daniel Hamann" userId="847c405c-7417-4257-a34f-58113b877d74" providerId="ADAL" clId="{1173E080-8BED-4155-9D29-857F04B3702D}" dt="2022-04-12T17:06:32.941" v="1260" actId="18676"/>
        <pc:sldMkLst>
          <pc:docMk/>
          <pc:sldMk cId="590577401" sldId="391"/>
        </pc:sldMkLst>
      </pc:sldChg>
      <pc:sldChg chg="del">
        <pc:chgData name="Daniel Hamann" userId="847c405c-7417-4257-a34f-58113b877d74" providerId="ADAL" clId="{1173E080-8BED-4155-9D29-857F04B3702D}" dt="2022-04-12T17:06:32.941" v="1260" actId="18676"/>
        <pc:sldMkLst>
          <pc:docMk/>
          <pc:sldMk cId="2824741347" sldId="422"/>
        </pc:sldMkLst>
      </pc:sldChg>
      <pc:sldChg chg="del">
        <pc:chgData name="Daniel Hamann" userId="847c405c-7417-4257-a34f-58113b877d74" providerId="ADAL" clId="{1173E080-8BED-4155-9D29-857F04B3702D}" dt="2022-04-12T17:06:32.941" v="1260" actId="18676"/>
        <pc:sldMkLst>
          <pc:docMk/>
          <pc:sldMk cId="737801744" sldId="424"/>
        </pc:sldMkLst>
      </pc:sldChg>
      <pc:sldChg chg="modSp mod">
        <pc:chgData name="Daniel Hamann" userId="847c405c-7417-4257-a34f-58113b877d74" providerId="ADAL" clId="{1173E080-8BED-4155-9D29-857F04B3702D}" dt="2022-04-13T08:42:04.060" v="2633" actId="20577"/>
        <pc:sldMkLst>
          <pc:docMk/>
          <pc:sldMk cId="3808728708" sldId="426"/>
        </pc:sldMkLst>
        <pc:spChg chg="mod">
          <ac:chgData name="Daniel Hamann" userId="847c405c-7417-4257-a34f-58113b877d74" providerId="ADAL" clId="{1173E080-8BED-4155-9D29-857F04B3702D}" dt="2022-04-13T08:42:04.060" v="2633" actId="20577"/>
          <ac:spMkLst>
            <pc:docMk/>
            <pc:sldMk cId="3808728708" sldId="426"/>
            <ac:spMk id="13" creationId="{62B6EAAC-0294-4866-B44D-C1EFE7ACA4E5}"/>
          </ac:spMkLst>
        </pc:spChg>
      </pc:sldChg>
      <pc:sldChg chg="addSp delSp modSp del mod modClrScheme chgLayout">
        <pc:chgData name="Daniel Hamann" userId="847c405c-7417-4257-a34f-58113b877d74" providerId="ADAL" clId="{1173E080-8BED-4155-9D29-857F04B3702D}" dt="2022-04-12T16:33:34.558" v="66" actId="47"/>
        <pc:sldMkLst>
          <pc:docMk/>
          <pc:sldMk cId="3406666726" sldId="428"/>
        </pc:sldMkLst>
        <pc:spChg chg="add del mod ord">
          <ac:chgData name="Daniel Hamann" userId="847c405c-7417-4257-a34f-58113b877d74" providerId="ADAL" clId="{1173E080-8BED-4155-9D29-857F04B3702D}" dt="2022-04-12T16:32:56.333" v="60" actId="700"/>
          <ac:spMkLst>
            <pc:docMk/>
            <pc:sldMk cId="3406666726" sldId="428"/>
            <ac:spMk id="2" creationId="{756C78EF-20D9-405F-A01C-65C5F69498B9}"/>
          </ac:spMkLst>
        </pc:spChg>
        <pc:spChg chg="mod ord">
          <ac:chgData name="Daniel Hamann" userId="847c405c-7417-4257-a34f-58113b877d74" providerId="ADAL" clId="{1173E080-8BED-4155-9D29-857F04B3702D}" dt="2022-04-12T16:32:56.333" v="60" actId="700"/>
          <ac:spMkLst>
            <pc:docMk/>
            <pc:sldMk cId="3406666726" sldId="428"/>
            <ac:spMk id="3" creationId="{1F4D5F3E-D201-4C7A-9407-E39025F1533B}"/>
          </ac:spMkLst>
        </pc:spChg>
        <pc:spChg chg="add del mod ord">
          <ac:chgData name="Daniel Hamann" userId="847c405c-7417-4257-a34f-58113b877d74" providerId="ADAL" clId="{1173E080-8BED-4155-9D29-857F04B3702D}" dt="2022-04-12T16:31:08.628" v="29" actId="931"/>
          <ac:spMkLst>
            <pc:docMk/>
            <pc:sldMk cId="3406666726" sldId="428"/>
            <ac:spMk id="4" creationId="{4B13A4BE-44F7-4719-B0C8-95F492862B16}"/>
          </ac:spMkLst>
        </pc:spChg>
        <pc:spChg chg="add del mod ord">
          <ac:chgData name="Daniel Hamann" userId="847c405c-7417-4257-a34f-58113b877d74" providerId="ADAL" clId="{1173E080-8BED-4155-9D29-857F04B3702D}" dt="2022-04-12T16:32:56.333" v="60" actId="700"/>
          <ac:spMkLst>
            <pc:docMk/>
            <pc:sldMk cId="3406666726" sldId="428"/>
            <ac:spMk id="5" creationId="{7725A124-4402-45CD-B376-1F724E256166}"/>
          </ac:spMkLst>
        </pc:spChg>
        <pc:spChg chg="mod ord">
          <ac:chgData name="Daniel Hamann" userId="847c405c-7417-4257-a34f-58113b877d74" providerId="ADAL" clId="{1173E080-8BED-4155-9D29-857F04B3702D}" dt="2022-04-12T16:32:56.333" v="60" actId="700"/>
          <ac:spMkLst>
            <pc:docMk/>
            <pc:sldMk cId="3406666726" sldId="428"/>
            <ac:spMk id="6" creationId="{AF8EAC61-3C64-4CF2-AE56-F3913C7E7E44}"/>
          </ac:spMkLst>
        </pc:spChg>
        <pc:spChg chg="del mod ord">
          <ac:chgData name="Daniel Hamann" userId="847c405c-7417-4257-a34f-58113b877d74" providerId="ADAL" clId="{1173E080-8BED-4155-9D29-857F04B3702D}" dt="2022-04-12T16:29:09.378" v="6" actId="700"/>
          <ac:spMkLst>
            <pc:docMk/>
            <pc:sldMk cId="3406666726" sldId="428"/>
            <ac:spMk id="7" creationId="{D50CC3DF-8961-49F8-90D9-F547AFEE9186}"/>
          </ac:spMkLst>
        </pc:spChg>
        <pc:spChg chg="del mod ord">
          <ac:chgData name="Daniel Hamann" userId="847c405c-7417-4257-a34f-58113b877d74" providerId="ADAL" clId="{1173E080-8BED-4155-9D29-857F04B3702D}" dt="2022-04-12T16:29:09.378" v="6" actId="700"/>
          <ac:spMkLst>
            <pc:docMk/>
            <pc:sldMk cId="3406666726" sldId="428"/>
            <ac:spMk id="8" creationId="{82386CFA-D341-49FB-A188-F1C1F6015781}"/>
          </ac:spMkLst>
        </pc:spChg>
        <pc:spChg chg="del mod ord">
          <ac:chgData name="Daniel Hamann" userId="847c405c-7417-4257-a34f-58113b877d74" providerId="ADAL" clId="{1173E080-8BED-4155-9D29-857F04B3702D}" dt="2022-04-12T16:29:09.378" v="6" actId="700"/>
          <ac:spMkLst>
            <pc:docMk/>
            <pc:sldMk cId="3406666726" sldId="428"/>
            <ac:spMk id="9" creationId="{D9614D97-67F5-405E-A1F8-19E97372C175}"/>
          </ac:spMkLst>
        </pc:spChg>
        <pc:spChg chg="del mod ord">
          <ac:chgData name="Daniel Hamann" userId="847c405c-7417-4257-a34f-58113b877d74" providerId="ADAL" clId="{1173E080-8BED-4155-9D29-857F04B3702D}" dt="2022-04-12T16:29:09.378" v="6" actId="700"/>
          <ac:spMkLst>
            <pc:docMk/>
            <pc:sldMk cId="3406666726" sldId="428"/>
            <ac:spMk id="10" creationId="{3F189A5D-5DEC-4792-AEEE-C61F5CAA8354}"/>
          </ac:spMkLst>
        </pc:spChg>
        <pc:spChg chg="add del mod ord">
          <ac:chgData name="Daniel Hamann" userId="847c405c-7417-4257-a34f-58113b877d74" providerId="ADAL" clId="{1173E080-8BED-4155-9D29-857F04B3702D}" dt="2022-04-12T16:31:08.628" v="29" actId="931"/>
          <ac:spMkLst>
            <pc:docMk/>
            <pc:sldMk cId="3406666726" sldId="428"/>
            <ac:spMk id="11" creationId="{5F0E19C7-0A2F-460D-B3C1-FB20EB21DBD8}"/>
          </ac:spMkLst>
        </pc:spChg>
        <pc:spChg chg="add mod">
          <ac:chgData name="Daniel Hamann" userId="847c405c-7417-4257-a34f-58113b877d74" providerId="ADAL" clId="{1173E080-8BED-4155-9D29-857F04B3702D}" dt="2022-04-12T16:30:27.826" v="23" actId="14100"/>
          <ac:spMkLst>
            <pc:docMk/>
            <pc:sldMk cId="3406666726" sldId="428"/>
            <ac:spMk id="14" creationId="{143EFC17-A595-4CD7-92F6-0CF0DC05E35E}"/>
          </ac:spMkLst>
        </pc:spChg>
        <pc:spChg chg="add mod">
          <ac:chgData name="Daniel Hamann" userId="847c405c-7417-4257-a34f-58113b877d74" providerId="ADAL" clId="{1173E080-8BED-4155-9D29-857F04B3702D}" dt="2022-04-12T16:30:38.727" v="26" actId="14100"/>
          <ac:spMkLst>
            <pc:docMk/>
            <pc:sldMk cId="3406666726" sldId="428"/>
            <ac:spMk id="15" creationId="{B4786FE9-DBAC-4B79-876D-2607CC67221B}"/>
          </ac:spMkLst>
        </pc:spChg>
        <pc:spChg chg="add del">
          <ac:chgData name="Daniel Hamann" userId="847c405c-7417-4257-a34f-58113b877d74" providerId="ADAL" clId="{1173E080-8BED-4155-9D29-857F04B3702D}" dt="2022-04-12T16:30:50.086" v="28" actId="478"/>
          <ac:spMkLst>
            <pc:docMk/>
            <pc:sldMk cId="3406666726" sldId="428"/>
            <ac:spMk id="16" creationId="{19CE34EE-803A-47CA-A4C9-FEC5558013F4}"/>
          </ac:spMkLst>
        </pc:spChg>
        <pc:spChg chg="add del mod ord">
          <ac:chgData name="Daniel Hamann" userId="847c405c-7417-4257-a34f-58113b877d74" providerId="ADAL" clId="{1173E080-8BED-4155-9D29-857F04B3702D}" dt="2022-04-12T16:32:12.648" v="54" actId="700"/>
          <ac:spMkLst>
            <pc:docMk/>
            <pc:sldMk cId="3406666726" sldId="428"/>
            <ac:spMk id="21" creationId="{85D9123D-F295-4795-923E-F1EB7952576E}"/>
          </ac:spMkLst>
        </pc:spChg>
        <pc:spChg chg="add del mod ord">
          <ac:chgData name="Daniel Hamann" userId="847c405c-7417-4257-a34f-58113b877d74" providerId="ADAL" clId="{1173E080-8BED-4155-9D29-857F04B3702D}" dt="2022-04-12T16:32:12.648" v="54" actId="700"/>
          <ac:spMkLst>
            <pc:docMk/>
            <pc:sldMk cId="3406666726" sldId="428"/>
            <ac:spMk id="22" creationId="{05E39489-ADD9-4399-B804-942C281F46C7}"/>
          </ac:spMkLst>
        </pc:spChg>
        <pc:spChg chg="add del mod">
          <ac:chgData name="Daniel Hamann" userId="847c405c-7417-4257-a34f-58113b877d74" providerId="ADAL" clId="{1173E080-8BED-4155-9D29-857F04B3702D}" dt="2022-04-12T16:32:50.429" v="59" actId="478"/>
          <ac:spMkLst>
            <pc:docMk/>
            <pc:sldMk cId="3406666726" sldId="428"/>
            <ac:spMk id="24" creationId="{E97DA6ED-1BDC-4372-A32E-B0BB923A4D6F}"/>
          </ac:spMkLst>
        </pc:spChg>
        <pc:spChg chg="add mod ord">
          <ac:chgData name="Daniel Hamann" userId="847c405c-7417-4257-a34f-58113b877d74" providerId="ADAL" clId="{1173E080-8BED-4155-9D29-857F04B3702D}" dt="2022-04-12T16:32:56.333" v="60" actId="700"/>
          <ac:spMkLst>
            <pc:docMk/>
            <pc:sldMk cId="3406666726" sldId="428"/>
            <ac:spMk id="25" creationId="{803A5C7F-D11B-4029-B815-B5DB40DBD142}"/>
          </ac:spMkLst>
        </pc:spChg>
        <pc:spChg chg="add mod ord">
          <ac:chgData name="Daniel Hamann" userId="847c405c-7417-4257-a34f-58113b877d74" providerId="ADAL" clId="{1173E080-8BED-4155-9D29-857F04B3702D}" dt="2022-04-12T16:32:56.333" v="60" actId="700"/>
          <ac:spMkLst>
            <pc:docMk/>
            <pc:sldMk cId="3406666726" sldId="428"/>
            <ac:spMk id="26" creationId="{907DD6CA-2176-4B44-994E-960C0105EF4B}"/>
          </ac:spMkLst>
        </pc:spChg>
        <pc:spChg chg="add mod ord">
          <ac:chgData name="Daniel Hamann" userId="847c405c-7417-4257-a34f-58113b877d74" providerId="ADAL" clId="{1173E080-8BED-4155-9D29-857F04B3702D}" dt="2022-04-12T16:32:56.333" v="60" actId="700"/>
          <ac:spMkLst>
            <pc:docMk/>
            <pc:sldMk cId="3406666726" sldId="428"/>
            <ac:spMk id="27" creationId="{6657F00E-0826-45C8-98BA-8CD0F4CBAEE3}"/>
          </ac:spMkLst>
        </pc:spChg>
        <pc:picChg chg="add mod modCrop">
          <ac:chgData name="Daniel Hamann" userId="847c405c-7417-4257-a34f-58113b877d74" providerId="ADAL" clId="{1173E080-8BED-4155-9D29-857F04B3702D}" dt="2022-04-12T16:32:49.577" v="58" actId="1076"/>
          <ac:picMkLst>
            <pc:docMk/>
            <pc:sldMk cId="3406666726" sldId="428"/>
            <ac:picMk id="13" creationId="{4B153504-D708-4875-BBD1-9DE43976BB00}"/>
          </ac:picMkLst>
        </pc:picChg>
        <pc:picChg chg="add del mod ord modCrop">
          <ac:chgData name="Daniel Hamann" userId="847c405c-7417-4257-a34f-58113b877d74" providerId="ADAL" clId="{1173E080-8BED-4155-9D29-857F04B3702D}" dt="2022-04-12T16:32:47.642" v="57" actId="478"/>
          <ac:picMkLst>
            <pc:docMk/>
            <pc:sldMk cId="3406666726" sldId="428"/>
            <ac:picMk id="18" creationId="{EEAC010A-35DD-4AA0-9152-7DC989AC0AE5}"/>
          </ac:picMkLst>
        </pc:picChg>
        <pc:picChg chg="add mod ord">
          <ac:chgData name="Daniel Hamann" userId="847c405c-7417-4257-a34f-58113b877d74" providerId="ADAL" clId="{1173E080-8BED-4155-9D29-857F04B3702D}" dt="2022-04-12T16:32:56.333" v="60" actId="700"/>
          <ac:picMkLst>
            <pc:docMk/>
            <pc:sldMk cId="3406666726" sldId="428"/>
            <ac:picMk id="20" creationId="{88C3A9C0-45FA-4DF1-A9AA-FB6D80A409E5}"/>
          </ac:picMkLst>
        </pc:picChg>
      </pc:sldChg>
      <pc:sldChg chg="addSp delSp modSp mod">
        <pc:chgData name="Daniel Hamann" userId="847c405c-7417-4257-a34f-58113b877d74" providerId="ADAL" clId="{1173E080-8BED-4155-9D29-857F04B3702D}" dt="2022-04-13T08:50:34.484" v="3415" actId="478"/>
        <pc:sldMkLst>
          <pc:docMk/>
          <pc:sldMk cId="2201740257" sldId="429"/>
        </pc:sldMkLst>
        <pc:spChg chg="add del mod">
          <ac:chgData name="Daniel Hamann" userId="847c405c-7417-4257-a34f-58113b877d74" providerId="ADAL" clId="{1173E080-8BED-4155-9D29-857F04B3702D}" dt="2022-04-13T08:50:34.484" v="3415" actId="478"/>
          <ac:spMkLst>
            <pc:docMk/>
            <pc:sldMk cId="2201740257" sldId="429"/>
            <ac:spMk id="3" creationId="{8D46098B-9EF6-42A4-BB3F-C432160A7102}"/>
          </ac:spMkLst>
        </pc:spChg>
        <pc:spChg chg="add del mod">
          <ac:chgData name="Daniel Hamann" userId="847c405c-7417-4257-a34f-58113b877d74" providerId="ADAL" clId="{1173E080-8BED-4155-9D29-857F04B3702D}" dt="2022-04-13T08:50:34.484" v="3415" actId="478"/>
          <ac:spMkLst>
            <pc:docMk/>
            <pc:sldMk cId="2201740257" sldId="429"/>
            <ac:spMk id="5" creationId="{6E663C3C-F0A6-4235-9389-654BA315B108}"/>
          </ac:spMkLst>
        </pc:spChg>
        <pc:spChg chg="mod">
          <ac:chgData name="Daniel Hamann" userId="847c405c-7417-4257-a34f-58113b877d74" providerId="ADAL" clId="{1173E080-8BED-4155-9D29-857F04B3702D}" dt="2022-04-13T08:49:36.654" v="3390" actId="20577"/>
          <ac:spMkLst>
            <pc:docMk/>
            <pc:sldMk cId="2201740257" sldId="429"/>
            <ac:spMk id="6" creationId="{8A12327F-1131-482D-954E-894DEC9EF3F1}"/>
          </ac:spMkLst>
        </pc:spChg>
        <pc:spChg chg="add del mod">
          <ac:chgData name="Daniel Hamann" userId="847c405c-7417-4257-a34f-58113b877d74" providerId="ADAL" clId="{1173E080-8BED-4155-9D29-857F04B3702D}" dt="2022-04-13T08:50:34.484" v="3415" actId="478"/>
          <ac:spMkLst>
            <pc:docMk/>
            <pc:sldMk cId="2201740257" sldId="429"/>
            <ac:spMk id="8" creationId="{A42BE15D-2436-4EB8-922F-2CABEC3C5569}"/>
          </ac:spMkLst>
        </pc:spChg>
        <pc:spChg chg="add del mod">
          <ac:chgData name="Daniel Hamann" userId="847c405c-7417-4257-a34f-58113b877d74" providerId="ADAL" clId="{1173E080-8BED-4155-9D29-857F04B3702D}" dt="2022-04-13T08:50:34.484" v="3415" actId="478"/>
          <ac:spMkLst>
            <pc:docMk/>
            <pc:sldMk cId="2201740257" sldId="429"/>
            <ac:spMk id="10" creationId="{18859451-09C2-403E-9549-6398CD23B103}"/>
          </ac:spMkLst>
        </pc:spChg>
        <pc:spChg chg="del">
          <ac:chgData name="Daniel Hamann" userId="847c405c-7417-4257-a34f-58113b877d74" providerId="ADAL" clId="{1173E080-8BED-4155-9D29-857F04B3702D}" dt="2022-04-13T08:50:29.418" v="3413" actId="478"/>
          <ac:spMkLst>
            <pc:docMk/>
            <pc:sldMk cId="2201740257" sldId="429"/>
            <ac:spMk id="33" creationId="{263113CB-4CD9-44E3-ABA2-180A4AC766D6}"/>
          </ac:spMkLst>
        </pc:spChg>
        <pc:spChg chg="del">
          <ac:chgData name="Daniel Hamann" userId="847c405c-7417-4257-a34f-58113b877d74" providerId="ADAL" clId="{1173E080-8BED-4155-9D29-857F04B3702D}" dt="2022-04-13T08:50:29.418" v="3413" actId="478"/>
          <ac:spMkLst>
            <pc:docMk/>
            <pc:sldMk cId="2201740257" sldId="429"/>
            <ac:spMk id="40" creationId="{E96176A8-49A1-4A98-B344-E18E879717A3}"/>
          </ac:spMkLst>
        </pc:spChg>
        <pc:spChg chg="mod">
          <ac:chgData name="Daniel Hamann" userId="847c405c-7417-4257-a34f-58113b877d74" providerId="ADAL" clId="{1173E080-8BED-4155-9D29-857F04B3702D}" dt="2022-04-13T08:49:33.937" v="3389" actId="20577"/>
          <ac:spMkLst>
            <pc:docMk/>
            <pc:sldMk cId="2201740257" sldId="429"/>
            <ac:spMk id="45" creationId="{0B1198CB-D12B-421A-93D0-8C56312E30F4}"/>
          </ac:spMkLst>
        </pc:spChg>
        <pc:spChg chg="mod">
          <ac:chgData name="Daniel Hamann" userId="847c405c-7417-4257-a34f-58113b877d74" providerId="ADAL" clId="{1173E080-8BED-4155-9D29-857F04B3702D}" dt="2022-04-13T08:49:47.152" v="3392" actId="20577"/>
          <ac:spMkLst>
            <pc:docMk/>
            <pc:sldMk cId="2201740257" sldId="429"/>
            <ac:spMk id="178" creationId="{40361B5C-04EA-40A9-91E2-5E0D03850F04}"/>
          </ac:spMkLst>
        </pc:spChg>
        <pc:spChg chg="mod">
          <ac:chgData name="Daniel Hamann" userId="847c405c-7417-4257-a34f-58113b877d74" providerId="ADAL" clId="{1173E080-8BED-4155-9D29-857F04B3702D}" dt="2022-04-13T08:50:10.224" v="3404" actId="20577"/>
          <ac:spMkLst>
            <pc:docMk/>
            <pc:sldMk cId="2201740257" sldId="429"/>
            <ac:spMk id="181" creationId="{860FD97A-601C-4FF7-936B-96E8AE407F72}"/>
          </ac:spMkLst>
        </pc:spChg>
        <pc:spChg chg="del">
          <ac:chgData name="Daniel Hamann" userId="847c405c-7417-4257-a34f-58113b877d74" providerId="ADAL" clId="{1173E080-8BED-4155-9D29-857F04B3702D}" dt="2022-04-13T08:50:29.418" v="3413" actId="478"/>
          <ac:spMkLst>
            <pc:docMk/>
            <pc:sldMk cId="2201740257" sldId="429"/>
            <ac:spMk id="184" creationId="{F57A899F-DDD4-49AB-B9FC-0358D18E82DF}"/>
          </ac:spMkLst>
        </pc:spChg>
        <pc:spChg chg="del">
          <ac:chgData name="Daniel Hamann" userId="847c405c-7417-4257-a34f-58113b877d74" providerId="ADAL" clId="{1173E080-8BED-4155-9D29-857F04B3702D}" dt="2022-04-13T08:50:31.947" v="3414" actId="478"/>
          <ac:spMkLst>
            <pc:docMk/>
            <pc:sldMk cId="2201740257" sldId="429"/>
            <ac:spMk id="185" creationId="{1136CD69-C074-465E-B9C4-D5F64CE0B09B}"/>
          </ac:spMkLst>
        </pc:spChg>
        <pc:spChg chg="mod">
          <ac:chgData name="Daniel Hamann" userId="847c405c-7417-4257-a34f-58113b877d74" providerId="ADAL" clId="{1173E080-8BED-4155-9D29-857F04B3702D}" dt="2022-04-13T08:50:24.379" v="3408" actId="20577"/>
          <ac:spMkLst>
            <pc:docMk/>
            <pc:sldMk cId="2201740257" sldId="429"/>
            <ac:spMk id="190" creationId="{6F267383-00ED-4749-BF8E-39A206F44ECD}"/>
          </ac:spMkLst>
        </pc:spChg>
        <pc:spChg chg="mod">
          <ac:chgData name="Daniel Hamann" userId="847c405c-7417-4257-a34f-58113b877d74" providerId="ADAL" clId="{1173E080-8BED-4155-9D29-857F04B3702D}" dt="2022-04-13T08:49:54.940" v="3396" actId="20577"/>
          <ac:spMkLst>
            <pc:docMk/>
            <pc:sldMk cId="2201740257" sldId="429"/>
            <ac:spMk id="196" creationId="{F068C355-A96C-4C36-9999-28C52C3EF347}"/>
          </ac:spMkLst>
        </pc:spChg>
        <pc:spChg chg="mod">
          <ac:chgData name="Daniel Hamann" userId="847c405c-7417-4257-a34f-58113b877d74" providerId="ADAL" clId="{1173E080-8BED-4155-9D29-857F04B3702D}" dt="2022-04-13T08:50:02.268" v="3400" actId="20577"/>
          <ac:spMkLst>
            <pc:docMk/>
            <pc:sldMk cId="2201740257" sldId="429"/>
            <ac:spMk id="199" creationId="{CE9AE38D-0ABC-461C-B845-C82DACD60B92}"/>
          </ac:spMkLst>
        </pc:spChg>
        <pc:spChg chg="mod">
          <ac:chgData name="Daniel Hamann" userId="847c405c-7417-4257-a34f-58113b877d74" providerId="ADAL" clId="{1173E080-8BED-4155-9D29-857F04B3702D}" dt="2022-04-13T08:50:26.464" v="3412" actId="20577"/>
          <ac:spMkLst>
            <pc:docMk/>
            <pc:sldMk cId="2201740257" sldId="429"/>
            <ac:spMk id="202" creationId="{F69CD99C-670E-4658-B02C-1E7E62DDFD77}"/>
          </ac:spMkLst>
        </pc:spChg>
        <pc:spChg chg="del">
          <ac:chgData name="Daniel Hamann" userId="847c405c-7417-4257-a34f-58113b877d74" providerId="ADAL" clId="{1173E080-8BED-4155-9D29-857F04B3702D}" dt="2022-04-13T08:50:29.418" v="3413" actId="478"/>
          <ac:spMkLst>
            <pc:docMk/>
            <pc:sldMk cId="2201740257" sldId="429"/>
            <ac:spMk id="205" creationId="{AAD21B5D-A139-4009-AB75-BA9E4F6C4C10}"/>
          </ac:spMkLst>
        </pc:spChg>
        <pc:spChg chg="del">
          <ac:chgData name="Daniel Hamann" userId="847c405c-7417-4257-a34f-58113b877d74" providerId="ADAL" clId="{1173E080-8BED-4155-9D29-857F04B3702D}" dt="2022-04-13T08:50:31.947" v="3414" actId="478"/>
          <ac:spMkLst>
            <pc:docMk/>
            <pc:sldMk cId="2201740257" sldId="429"/>
            <ac:spMk id="206" creationId="{15F811F0-37F3-4874-9FC1-865B6871A749}"/>
          </ac:spMkLst>
        </pc:spChg>
      </pc:sldChg>
      <pc:sldChg chg="addSp delSp modSp add del mod modClrScheme addAnim delAnim modAnim chgLayout">
        <pc:chgData name="Daniel Hamann" userId="847c405c-7417-4257-a34f-58113b877d74" providerId="ADAL" clId="{1173E080-8BED-4155-9D29-857F04B3702D}" dt="2022-04-12T16:56:03.521" v="649" actId="47"/>
        <pc:sldMkLst>
          <pc:docMk/>
          <pc:sldMk cId="911211050" sldId="430"/>
        </pc:sldMkLst>
        <pc:spChg chg="mod ord">
          <ac:chgData name="Daniel Hamann" userId="847c405c-7417-4257-a34f-58113b877d74" providerId="ADAL" clId="{1173E080-8BED-4155-9D29-857F04B3702D}" dt="2022-04-12T16:54:38.870" v="619" actId="700"/>
          <ac:spMkLst>
            <pc:docMk/>
            <pc:sldMk cId="911211050" sldId="430"/>
            <ac:spMk id="3" creationId="{1F4D5F3E-D201-4C7A-9407-E39025F1533B}"/>
          </ac:spMkLst>
        </pc:spChg>
        <pc:spChg chg="mod ord">
          <ac:chgData name="Daniel Hamann" userId="847c405c-7417-4257-a34f-58113b877d74" providerId="ADAL" clId="{1173E080-8BED-4155-9D29-857F04B3702D}" dt="2022-04-12T16:54:38.870" v="619" actId="700"/>
          <ac:spMkLst>
            <pc:docMk/>
            <pc:sldMk cId="911211050" sldId="430"/>
            <ac:spMk id="6" creationId="{AF8EAC61-3C64-4CF2-AE56-F3913C7E7E44}"/>
          </ac:spMkLst>
        </pc:spChg>
        <pc:spChg chg="add del mod ord">
          <ac:chgData name="Daniel Hamann" userId="847c405c-7417-4257-a34f-58113b877d74" providerId="ADAL" clId="{1173E080-8BED-4155-9D29-857F04B3702D}" dt="2022-04-12T16:54:38.870" v="619" actId="700"/>
          <ac:spMkLst>
            <pc:docMk/>
            <pc:sldMk cId="911211050" sldId="430"/>
            <ac:spMk id="7" creationId="{D50CC3DF-8961-49F8-90D9-F547AFEE9186}"/>
          </ac:spMkLst>
        </pc:spChg>
        <pc:spChg chg="add del mod">
          <ac:chgData name="Daniel Hamann" userId="847c405c-7417-4257-a34f-58113b877d74" providerId="ADAL" clId="{1173E080-8BED-4155-9D29-857F04B3702D}" dt="2022-04-12T16:53:34.252" v="612" actId="478"/>
          <ac:spMkLst>
            <pc:docMk/>
            <pc:sldMk cId="911211050" sldId="430"/>
            <ac:spMk id="8" creationId="{A61FA92E-F62E-4376-9179-51ABBDE068DD}"/>
          </ac:spMkLst>
        </pc:spChg>
        <pc:spChg chg="del mod">
          <ac:chgData name="Daniel Hamann" userId="847c405c-7417-4257-a34f-58113b877d74" providerId="ADAL" clId="{1173E080-8BED-4155-9D29-857F04B3702D}" dt="2022-04-12T16:53:32.358" v="610" actId="478"/>
          <ac:spMkLst>
            <pc:docMk/>
            <pc:sldMk cId="911211050" sldId="430"/>
            <ac:spMk id="9" creationId="{D9614D97-67F5-405E-A1F8-19E97372C175}"/>
          </ac:spMkLst>
        </pc:spChg>
        <pc:spChg chg="del mod ord">
          <ac:chgData name="Daniel Hamann" userId="847c405c-7417-4257-a34f-58113b877d74" providerId="ADAL" clId="{1173E080-8BED-4155-9D29-857F04B3702D}" dt="2022-04-12T16:54:38.870" v="619" actId="700"/>
          <ac:spMkLst>
            <pc:docMk/>
            <pc:sldMk cId="911211050" sldId="430"/>
            <ac:spMk id="10" creationId="{3F189A5D-5DEC-4792-AEEE-C61F5CAA8354}"/>
          </ac:spMkLst>
        </pc:spChg>
        <pc:spChg chg="add del mod">
          <ac:chgData name="Daniel Hamann" userId="847c405c-7417-4257-a34f-58113b877d74" providerId="ADAL" clId="{1173E080-8BED-4155-9D29-857F04B3702D}" dt="2022-04-12T16:54:32.875" v="617"/>
          <ac:spMkLst>
            <pc:docMk/>
            <pc:sldMk cId="911211050" sldId="430"/>
            <ac:spMk id="12" creationId="{05C95237-BE8C-40A4-8093-CB063F224E6C}"/>
          </ac:spMkLst>
        </pc:spChg>
        <pc:spChg chg="add mod ord">
          <ac:chgData name="Daniel Hamann" userId="847c405c-7417-4257-a34f-58113b877d74" providerId="ADAL" clId="{1173E080-8BED-4155-9D29-857F04B3702D}" dt="2022-04-12T16:54:38.870" v="619" actId="700"/>
          <ac:spMkLst>
            <pc:docMk/>
            <pc:sldMk cId="911211050" sldId="430"/>
            <ac:spMk id="14" creationId="{64AE2DE8-970A-455B-AED4-BC5215A8628B}"/>
          </ac:spMkLst>
        </pc:spChg>
        <pc:spChg chg="add mod ord">
          <ac:chgData name="Daniel Hamann" userId="847c405c-7417-4257-a34f-58113b877d74" providerId="ADAL" clId="{1173E080-8BED-4155-9D29-857F04B3702D}" dt="2022-04-12T16:54:38.870" v="619" actId="700"/>
          <ac:spMkLst>
            <pc:docMk/>
            <pc:sldMk cId="911211050" sldId="430"/>
            <ac:spMk id="15" creationId="{DD9CCBC6-A105-40F0-BAD1-951586BE0399}"/>
          </ac:spMkLst>
        </pc:spChg>
        <pc:spChg chg="add del mod ord">
          <ac:chgData name="Daniel Hamann" userId="847c405c-7417-4257-a34f-58113b877d74" providerId="ADAL" clId="{1173E080-8BED-4155-9D29-857F04B3702D}" dt="2022-04-12T16:54:41.960" v="621" actId="478"/>
          <ac:spMkLst>
            <pc:docMk/>
            <pc:sldMk cId="911211050" sldId="430"/>
            <ac:spMk id="16" creationId="{C6C9B37C-C5B6-434B-89E7-05CB010EE490}"/>
          </ac:spMkLst>
        </pc:spChg>
        <pc:spChg chg="add mod">
          <ac:chgData name="Daniel Hamann" userId="847c405c-7417-4257-a34f-58113b877d74" providerId="ADAL" clId="{1173E080-8BED-4155-9D29-857F04B3702D}" dt="2022-04-12T16:55:54.524" v="645" actId="478"/>
          <ac:spMkLst>
            <pc:docMk/>
            <pc:sldMk cId="911211050" sldId="430"/>
            <ac:spMk id="18" creationId="{B78161F5-F38D-4D9B-8DEC-1921B8FC753F}"/>
          </ac:spMkLst>
        </pc:spChg>
        <pc:picChg chg="add del mod">
          <ac:chgData name="Daniel Hamann" userId="847c405c-7417-4257-a34f-58113b877d74" providerId="ADAL" clId="{1173E080-8BED-4155-9D29-857F04B3702D}" dt="2022-04-12T16:56:02.267" v="648" actId="21"/>
          <ac:picMkLst>
            <pc:docMk/>
            <pc:sldMk cId="911211050" sldId="430"/>
            <ac:picMk id="4" creationId="{1728B4A4-854F-45C9-8EBC-B6CEF0CED966}"/>
          </ac:picMkLst>
        </pc:picChg>
        <pc:picChg chg="add del">
          <ac:chgData name="Daniel Hamann" userId="847c405c-7417-4257-a34f-58113b877d74" providerId="ADAL" clId="{1173E080-8BED-4155-9D29-857F04B3702D}" dt="2022-04-12T16:54:28.382" v="616" actId="478"/>
          <ac:picMkLst>
            <pc:docMk/>
            <pc:sldMk cId="911211050" sldId="430"/>
            <ac:picMk id="5" creationId="{D6C04CBF-A0D5-40C3-807A-7592D9AC61DC}"/>
          </ac:picMkLst>
        </pc:picChg>
        <pc:picChg chg="add del mod ord">
          <ac:chgData name="Daniel Hamann" userId="847c405c-7417-4257-a34f-58113b877d74" providerId="ADAL" clId="{1173E080-8BED-4155-9D29-857F04B3702D}" dt="2022-04-12T16:55:54.524" v="645" actId="478"/>
          <ac:picMkLst>
            <pc:docMk/>
            <pc:sldMk cId="911211050" sldId="430"/>
            <ac:picMk id="13" creationId="{01CE8CA3-E752-4B3E-8D12-C46F1CE08C1E}"/>
          </ac:picMkLst>
        </pc:picChg>
      </pc:sldChg>
      <pc:sldChg chg="addSp delSp modSp mod modClrScheme delAnim modAnim chgLayout">
        <pc:chgData name="Daniel Hamann" userId="847c405c-7417-4257-a34f-58113b877d74" providerId="ADAL" clId="{1173E080-8BED-4155-9D29-857F04B3702D}" dt="2022-04-13T09:14:57.294" v="3681" actId="1076"/>
        <pc:sldMkLst>
          <pc:docMk/>
          <pc:sldMk cId="92348239" sldId="431"/>
        </pc:sldMkLst>
        <pc:spChg chg="add mod ord">
          <ac:chgData name="Daniel Hamann" userId="847c405c-7417-4257-a34f-58113b877d74" providerId="ADAL" clId="{1173E080-8BED-4155-9D29-857F04B3702D}" dt="2022-04-12T17:08:32.701" v="1276" actId="700"/>
          <ac:spMkLst>
            <pc:docMk/>
            <pc:sldMk cId="92348239" sldId="431"/>
            <ac:spMk id="2" creationId="{7D2624EE-312B-491A-B5B5-4DAF904153A5}"/>
          </ac:spMkLst>
        </pc:spChg>
        <pc:spChg chg="mod ord">
          <ac:chgData name="Daniel Hamann" userId="847c405c-7417-4257-a34f-58113b877d74" providerId="ADAL" clId="{1173E080-8BED-4155-9D29-857F04B3702D}" dt="2022-04-12T17:08:32.701" v="1276" actId="700"/>
          <ac:spMkLst>
            <pc:docMk/>
            <pc:sldMk cId="92348239" sldId="431"/>
            <ac:spMk id="3" creationId="{1F4D5F3E-D201-4C7A-9407-E39025F1533B}"/>
          </ac:spMkLst>
        </pc:spChg>
        <pc:spChg chg="add del mod ord">
          <ac:chgData name="Daniel Hamann" userId="847c405c-7417-4257-a34f-58113b877d74" providerId="ADAL" clId="{1173E080-8BED-4155-9D29-857F04B3702D}" dt="2022-04-13T07:52:40.628" v="1533" actId="931"/>
          <ac:spMkLst>
            <pc:docMk/>
            <pc:sldMk cId="92348239" sldId="431"/>
            <ac:spMk id="4" creationId="{D8847D70-44AA-4990-BC31-6408F317C97E}"/>
          </ac:spMkLst>
        </pc:spChg>
        <pc:spChg chg="add mod ord">
          <ac:chgData name="Daniel Hamann" userId="847c405c-7417-4257-a34f-58113b877d74" providerId="ADAL" clId="{1173E080-8BED-4155-9D29-857F04B3702D}" dt="2022-04-12T17:08:32.701" v="1276" actId="700"/>
          <ac:spMkLst>
            <pc:docMk/>
            <pc:sldMk cId="92348239" sldId="431"/>
            <ac:spMk id="5" creationId="{5A0F852B-65A8-4E23-B4D7-541885AE377A}"/>
          </ac:spMkLst>
        </pc:spChg>
        <pc:spChg chg="mod ord">
          <ac:chgData name="Daniel Hamann" userId="847c405c-7417-4257-a34f-58113b877d74" providerId="ADAL" clId="{1173E080-8BED-4155-9D29-857F04B3702D}" dt="2022-04-12T17:08:32.701" v="1276" actId="700"/>
          <ac:spMkLst>
            <pc:docMk/>
            <pc:sldMk cId="92348239" sldId="431"/>
            <ac:spMk id="6" creationId="{AF8EAC61-3C64-4CF2-AE56-F3913C7E7E44}"/>
          </ac:spMkLst>
        </pc:spChg>
        <pc:spChg chg="del mod ord">
          <ac:chgData name="Daniel Hamann" userId="847c405c-7417-4257-a34f-58113b877d74" providerId="ADAL" clId="{1173E080-8BED-4155-9D29-857F04B3702D}" dt="2022-04-12T17:08:32.701" v="1276" actId="700"/>
          <ac:spMkLst>
            <pc:docMk/>
            <pc:sldMk cId="92348239" sldId="431"/>
            <ac:spMk id="7" creationId="{D50CC3DF-8961-49F8-90D9-F547AFEE9186}"/>
          </ac:spMkLst>
        </pc:spChg>
        <pc:spChg chg="del mod ord">
          <ac:chgData name="Daniel Hamann" userId="847c405c-7417-4257-a34f-58113b877d74" providerId="ADAL" clId="{1173E080-8BED-4155-9D29-857F04B3702D}" dt="2022-04-12T17:08:32.701" v="1276" actId="700"/>
          <ac:spMkLst>
            <pc:docMk/>
            <pc:sldMk cId="92348239" sldId="431"/>
            <ac:spMk id="8" creationId="{82386CFA-D341-49FB-A188-F1C1F6015781}"/>
          </ac:spMkLst>
        </pc:spChg>
        <pc:spChg chg="del mod ord">
          <ac:chgData name="Daniel Hamann" userId="847c405c-7417-4257-a34f-58113b877d74" providerId="ADAL" clId="{1173E080-8BED-4155-9D29-857F04B3702D}" dt="2022-04-12T17:08:32.701" v="1276" actId="700"/>
          <ac:spMkLst>
            <pc:docMk/>
            <pc:sldMk cId="92348239" sldId="431"/>
            <ac:spMk id="9" creationId="{D9614D97-67F5-405E-A1F8-19E97372C175}"/>
          </ac:spMkLst>
        </pc:spChg>
        <pc:spChg chg="del mod ord">
          <ac:chgData name="Daniel Hamann" userId="847c405c-7417-4257-a34f-58113b877d74" providerId="ADAL" clId="{1173E080-8BED-4155-9D29-857F04B3702D}" dt="2022-04-12T17:08:32.701" v="1276" actId="700"/>
          <ac:spMkLst>
            <pc:docMk/>
            <pc:sldMk cId="92348239" sldId="431"/>
            <ac:spMk id="10" creationId="{3F189A5D-5DEC-4792-AEEE-C61F5CAA8354}"/>
          </ac:spMkLst>
        </pc:spChg>
        <pc:spChg chg="add del mod ord">
          <ac:chgData name="Daniel Hamann" userId="847c405c-7417-4257-a34f-58113b877d74" providerId="ADAL" clId="{1173E080-8BED-4155-9D29-857F04B3702D}" dt="2022-04-13T07:48:58.507" v="1311" actId="478"/>
          <ac:spMkLst>
            <pc:docMk/>
            <pc:sldMk cId="92348239" sldId="431"/>
            <ac:spMk id="11" creationId="{C9105A20-B5BD-469D-A407-80F5AE01F1DF}"/>
          </ac:spMkLst>
        </pc:spChg>
        <pc:spChg chg="add mod">
          <ac:chgData name="Daniel Hamann" userId="847c405c-7417-4257-a34f-58113b877d74" providerId="ADAL" clId="{1173E080-8BED-4155-9D29-857F04B3702D}" dt="2022-04-13T08:04:28.216" v="1836"/>
          <ac:spMkLst>
            <pc:docMk/>
            <pc:sldMk cId="92348239" sldId="431"/>
            <ac:spMk id="18" creationId="{17C33E37-888C-48DF-A0F8-20C0E9065EAE}"/>
          </ac:spMkLst>
        </pc:spChg>
        <pc:spChg chg="add mod ord">
          <ac:chgData name="Daniel Hamann" userId="847c405c-7417-4257-a34f-58113b877d74" providerId="ADAL" clId="{1173E080-8BED-4155-9D29-857F04B3702D}" dt="2022-04-13T09:14:57.294" v="3681" actId="1076"/>
          <ac:spMkLst>
            <pc:docMk/>
            <pc:sldMk cId="92348239" sldId="431"/>
            <ac:spMk id="20" creationId="{C7794D61-63AC-4272-9EE6-C544F00F785F}"/>
          </ac:spMkLst>
        </pc:spChg>
        <pc:picChg chg="add mod">
          <ac:chgData name="Daniel Hamann" userId="847c405c-7417-4257-a34f-58113b877d74" providerId="ADAL" clId="{1173E080-8BED-4155-9D29-857F04B3702D}" dt="2022-04-13T07:48:45.270" v="1306"/>
          <ac:picMkLst>
            <pc:docMk/>
            <pc:sldMk cId="92348239" sldId="431"/>
            <ac:picMk id="12" creationId="{0433F1F6-8DE1-429C-B005-52D786F19E16}"/>
          </ac:picMkLst>
        </pc:picChg>
        <pc:picChg chg="add del mod">
          <ac:chgData name="Daniel Hamann" userId="847c405c-7417-4257-a34f-58113b877d74" providerId="ADAL" clId="{1173E080-8BED-4155-9D29-857F04B3702D}" dt="2022-04-13T09:02:15.766" v="3663" actId="478"/>
          <ac:picMkLst>
            <pc:docMk/>
            <pc:sldMk cId="92348239" sldId="431"/>
            <ac:picMk id="13" creationId="{0400C425-88CB-4C08-B157-634E101C4B2B}"/>
          </ac:picMkLst>
        </pc:picChg>
        <pc:picChg chg="add del mod">
          <ac:chgData name="Daniel Hamann" userId="847c405c-7417-4257-a34f-58113b877d74" providerId="ADAL" clId="{1173E080-8BED-4155-9D29-857F04B3702D}" dt="2022-04-13T08:05:58.477" v="1906" actId="478"/>
          <ac:picMkLst>
            <pc:docMk/>
            <pc:sldMk cId="92348239" sldId="431"/>
            <ac:picMk id="14" creationId="{7C9AF4EE-C81C-4008-B80D-AB4A898C2312}"/>
          </ac:picMkLst>
        </pc:picChg>
        <pc:picChg chg="add del mod ord">
          <ac:chgData name="Daniel Hamann" userId="847c405c-7417-4257-a34f-58113b877d74" providerId="ADAL" clId="{1173E080-8BED-4155-9D29-857F04B3702D}" dt="2022-04-13T07:52:51.830" v="1537" actId="21"/>
          <ac:picMkLst>
            <pc:docMk/>
            <pc:sldMk cId="92348239" sldId="431"/>
            <ac:picMk id="16" creationId="{CB52C231-9DE1-411E-A2E3-ED7FD777119D}"/>
          </ac:picMkLst>
        </pc:picChg>
        <pc:picChg chg="add mod ord">
          <ac:chgData name="Daniel Hamann" userId="847c405c-7417-4257-a34f-58113b877d74" providerId="ADAL" clId="{1173E080-8BED-4155-9D29-857F04B3702D}" dt="2022-04-13T09:14:57.294" v="3681" actId="1076"/>
          <ac:picMkLst>
            <pc:docMk/>
            <pc:sldMk cId="92348239" sldId="431"/>
            <ac:picMk id="19" creationId="{E5E90D08-76CF-4E9B-A772-DBEE9BA9FFC0}"/>
          </ac:picMkLst>
        </pc:picChg>
        <pc:picChg chg="add del mod">
          <ac:chgData name="Daniel Hamann" userId="847c405c-7417-4257-a34f-58113b877d74" providerId="ADAL" clId="{1173E080-8BED-4155-9D29-857F04B3702D}" dt="2022-04-13T09:13:29.964" v="3673" actId="478"/>
          <ac:picMkLst>
            <pc:docMk/>
            <pc:sldMk cId="92348239" sldId="431"/>
            <ac:picMk id="21" creationId="{4F563532-9E50-46B3-86AA-AA78D5F2D66C}"/>
          </ac:picMkLst>
        </pc:picChg>
        <pc:picChg chg="add mod">
          <ac:chgData name="Daniel Hamann" userId="847c405c-7417-4257-a34f-58113b877d74" providerId="ADAL" clId="{1173E080-8BED-4155-9D29-857F04B3702D}" dt="2022-04-13T09:13:48.249" v="3679" actId="1076"/>
          <ac:picMkLst>
            <pc:docMk/>
            <pc:sldMk cId="92348239" sldId="431"/>
            <ac:picMk id="22" creationId="{9A48D0E3-8A02-4DF6-9152-D3A076636EE9}"/>
          </ac:picMkLst>
        </pc:picChg>
      </pc:sldChg>
      <pc:sldChg chg="addSp delSp modSp mod modClrScheme delAnim modAnim chgLayout">
        <pc:chgData name="Daniel Hamann" userId="847c405c-7417-4257-a34f-58113b877d74" providerId="ADAL" clId="{1173E080-8BED-4155-9D29-857F04B3702D}" dt="2022-04-13T08:19:34.421" v="2182" actId="20577"/>
        <pc:sldMkLst>
          <pc:docMk/>
          <pc:sldMk cId="3352904881" sldId="432"/>
        </pc:sldMkLst>
        <pc:spChg chg="mod ord">
          <ac:chgData name="Daniel Hamann" userId="847c405c-7417-4257-a34f-58113b877d74" providerId="ADAL" clId="{1173E080-8BED-4155-9D29-857F04B3702D}" dt="2022-04-13T08:18:18.192" v="2076" actId="700"/>
          <ac:spMkLst>
            <pc:docMk/>
            <pc:sldMk cId="3352904881" sldId="432"/>
            <ac:spMk id="3" creationId="{1F4D5F3E-D201-4C7A-9407-E39025F1533B}"/>
          </ac:spMkLst>
        </pc:spChg>
        <pc:spChg chg="add del mod ord">
          <ac:chgData name="Daniel Hamann" userId="847c405c-7417-4257-a34f-58113b877d74" providerId="ADAL" clId="{1173E080-8BED-4155-9D29-857F04B3702D}" dt="2022-04-13T08:18:18.192" v="2076" actId="700"/>
          <ac:spMkLst>
            <pc:docMk/>
            <pc:sldMk cId="3352904881" sldId="432"/>
            <ac:spMk id="5" creationId="{74055DCB-0D3C-414E-970A-187825D4BD06}"/>
          </ac:spMkLst>
        </pc:spChg>
        <pc:spChg chg="mod ord">
          <ac:chgData name="Daniel Hamann" userId="847c405c-7417-4257-a34f-58113b877d74" providerId="ADAL" clId="{1173E080-8BED-4155-9D29-857F04B3702D}" dt="2022-04-13T08:18:18.192" v="2076" actId="700"/>
          <ac:spMkLst>
            <pc:docMk/>
            <pc:sldMk cId="3352904881" sldId="432"/>
            <ac:spMk id="6" creationId="{AF8EAC61-3C64-4CF2-AE56-F3913C7E7E44}"/>
          </ac:spMkLst>
        </pc:spChg>
        <pc:spChg chg="del mod ord">
          <ac:chgData name="Daniel Hamann" userId="847c405c-7417-4257-a34f-58113b877d74" providerId="ADAL" clId="{1173E080-8BED-4155-9D29-857F04B3702D}" dt="2022-04-13T08:18:18.192" v="2076" actId="700"/>
          <ac:spMkLst>
            <pc:docMk/>
            <pc:sldMk cId="3352904881" sldId="432"/>
            <ac:spMk id="7" creationId="{D50CC3DF-8961-49F8-90D9-F547AFEE9186}"/>
          </ac:spMkLst>
        </pc:spChg>
        <pc:spChg chg="del">
          <ac:chgData name="Daniel Hamann" userId="847c405c-7417-4257-a34f-58113b877d74" providerId="ADAL" clId="{1173E080-8BED-4155-9D29-857F04B3702D}" dt="2022-04-13T07:48:51.256" v="1307"/>
          <ac:spMkLst>
            <pc:docMk/>
            <pc:sldMk cId="3352904881" sldId="432"/>
            <ac:spMk id="8" creationId="{82386CFA-D341-49FB-A188-F1C1F6015781}"/>
          </ac:spMkLst>
        </pc:spChg>
        <pc:spChg chg="del mod ord">
          <ac:chgData name="Daniel Hamann" userId="847c405c-7417-4257-a34f-58113b877d74" providerId="ADAL" clId="{1173E080-8BED-4155-9D29-857F04B3702D}" dt="2022-04-13T08:18:18.192" v="2076" actId="700"/>
          <ac:spMkLst>
            <pc:docMk/>
            <pc:sldMk cId="3352904881" sldId="432"/>
            <ac:spMk id="9" creationId="{D9614D97-67F5-405E-A1F8-19E97372C175}"/>
          </ac:spMkLst>
        </pc:spChg>
        <pc:spChg chg="del mod ord">
          <ac:chgData name="Daniel Hamann" userId="847c405c-7417-4257-a34f-58113b877d74" providerId="ADAL" clId="{1173E080-8BED-4155-9D29-857F04B3702D}" dt="2022-04-13T08:18:18.192" v="2076" actId="700"/>
          <ac:spMkLst>
            <pc:docMk/>
            <pc:sldMk cId="3352904881" sldId="432"/>
            <ac:spMk id="10" creationId="{3F189A5D-5DEC-4792-AEEE-C61F5CAA8354}"/>
          </ac:spMkLst>
        </pc:spChg>
        <pc:spChg chg="add mod ord">
          <ac:chgData name="Daniel Hamann" userId="847c405c-7417-4257-a34f-58113b877d74" providerId="ADAL" clId="{1173E080-8BED-4155-9D29-857F04B3702D}" dt="2022-04-13T08:18:18.192" v="2076" actId="700"/>
          <ac:spMkLst>
            <pc:docMk/>
            <pc:sldMk cId="3352904881" sldId="432"/>
            <ac:spMk id="15" creationId="{11E0AD8F-85E6-446B-BD51-9E437A807078}"/>
          </ac:spMkLst>
        </pc:spChg>
        <pc:spChg chg="add mod ord">
          <ac:chgData name="Daniel Hamann" userId="847c405c-7417-4257-a34f-58113b877d74" providerId="ADAL" clId="{1173E080-8BED-4155-9D29-857F04B3702D}" dt="2022-04-13T08:19:34.421" v="2182" actId="20577"/>
          <ac:spMkLst>
            <pc:docMk/>
            <pc:sldMk cId="3352904881" sldId="432"/>
            <ac:spMk id="16" creationId="{786AFAA1-DAF9-4DC1-9A48-7743203B54F0}"/>
          </ac:spMkLst>
        </pc:spChg>
        <pc:spChg chg="add mod ord">
          <ac:chgData name="Daniel Hamann" userId="847c405c-7417-4257-a34f-58113b877d74" providerId="ADAL" clId="{1173E080-8BED-4155-9D29-857F04B3702D}" dt="2022-04-13T08:18:18.192" v="2076" actId="700"/>
          <ac:spMkLst>
            <pc:docMk/>
            <pc:sldMk cId="3352904881" sldId="432"/>
            <ac:spMk id="17" creationId="{5151A77E-0615-42E0-A8E6-C7456E33C18F}"/>
          </ac:spMkLst>
        </pc:spChg>
        <pc:spChg chg="add del mod ord">
          <ac:chgData name="Daniel Hamann" userId="847c405c-7417-4257-a34f-58113b877d74" providerId="ADAL" clId="{1173E080-8BED-4155-9D29-857F04B3702D}" dt="2022-04-13T08:18:39.544" v="2082" actId="478"/>
          <ac:spMkLst>
            <pc:docMk/>
            <pc:sldMk cId="3352904881" sldId="432"/>
            <ac:spMk id="18" creationId="{BC42FA48-C4FD-417B-9B8D-4ED443665700}"/>
          </ac:spMkLst>
        </pc:spChg>
        <pc:picChg chg="add del mod">
          <ac:chgData name="Daniel Hamann" userId="847c405c-7417-4257-a34f-58113b877d74" providerId="ADAL" clId="{1173E080-8BED-4155-9D29-857F04B3702D}" dt="2022-04-13T07:48:52.668" v="1308" actId="21"/>
          <ac:picMkLst>
            <pc:docMk/>
            <pc:sldMk cId="3352904881" sldId="432"/>
            <ac:picMk id="2" creationId="{04E827BB-3615-4C19-BC17-D868DB85BA86}"/>
          </ac:picMkLst>
        </pc:picChg>
        <pc:picChg chg="add del">
          <ac:chgData name="Daniel Hamann" userId="847c405c-7417-4257-a34f-58113b877d74" providerId="ADAL" clId="{1173E080-8BED-4155-9D29-857F04B3702D}" dt="2022-04-13T08:12:51.544" v="1938" actId="21"/>
          <ac:picMkLst>
            <pc:docMk/>
            <pc:sldMk cId="3352904881" sldId="432"/>
            <ac:picMk id="12" creationId="{52816A62-BA4C-44EF-9A7C-5CEBCB660128}"/>
          </ac:picMkLst>
        </pc:picChg>
        <pc:picChg chg="add del mod">
          <ac:chgData name="Daniel Hamann" userId="847c405c-7417-4257-a34f-58113b877d74" providerId="ADAL" clId="{1173E080-8BED-4155-9D29-857F04B3702D}" dt="2022-04-13T08:18:12.975" v="2075" actId="21"/>
          <ac:picMkLst>
            <pc:docMk/>
            <pc:sldMk cId="3352904881" sldId="432"/>
            <ac:picMk id="14" creationId="{455408C9-BA0B-421E-8FAF-E3590CE53B6D}"/>
          </ac:picMkLst>
        </pc:picChg>
        <pc:picChg chg="add mod modCrop">
          <ac:chgData name="Daniel Hamann" userId="847c405c-7417-4257-a34f-58113b877d74" providerId="ADAL" clId="{1173E080-8BED-4155-9D29-857F04B3702D}" dt="2022-04-13T08:18:56.773" v="2087" actId="732"/>
          <ac:picMkLst>
            <pc:docMk/>
            <pc:sldMk cId="3352904881" sldId="432"/>
            <ac:picMk id="19" creationId="{EAA87EAA-2BD1-4D08-BE51-E34012AB0960}"/>
          </ac:picMkLst>
        </pc:picChg>
      </pc:sldChg>
      <pc:sldChg chg="addSp delSp modSp mod modClrScheme chgLayout">
        <pc:chgData name="Daniel Hamann" userId="847c405c-7417-4257-a34f-58113b877d74" providerId="ADAL" clId="{1173E080-8BED-4155-9D29-857F04B3702D}" dt="2022-04-13T08:39:55.921" v="2630" actId="20577"/>
        <pc:sldMkLst>
          <pc:docMk/>
          <pc:sldMk cId="3056604384" sldId="433"/>
        </pc:sldMkLst>
        <pc:spChg chg="add mod ord">
          <ac:chgData name="Daniel Hamann" userId="847c405c-7417-4257-a34f-58113b877d74" providerId="ADAL" clId="{1173E080-8BED-4155-9D29-857F04B3702D}" dt="2022-04-13T08:12:56.609" v="1940" actId="700"/>
          <ac:spMkLst>
            <pc:docMk/>
            <pc:sldMk cId="3056604384" sldId="433"/>
            <ac:spMk id="2" creationId="{3CED2827-C425-4AB4-95AA-C3E1C7A5F3CF}"/>
          </ac:spMkLst>
        </pc:spChg>
        <pc:spChg chg="mod ord">
          <ac:chgData name="Daniel Hamann" userId="847c405c-7417-4257-a34f-58113b877d74" providerId="ADAL" clId="{1173E080-8BED-4155-9D29-857F04B3702D}" dt="2022-04-13T08:12:56.609" v="1940" actId="700"/>
          <ac:spMkLst>
            <pc:docMk/>
            <pc:sldMk cId="3056604384" sldId="433"/>
            <ac:spMk id="3" creationId="{1F4D5F3E-D201-4C7A-9407-E39025F1533B}"/>
          </ac:spMkLst>
        </pc:spChg>
        <pc:spChg chg="add mod ord">
          <ac:chgData name="Daniel Hamann" userId="847c405c-7417-4257-a34f-58113b877d74" providerId="ADAL" clId="{1173E080-8BED-4155-9D29-857F04B3702D}" dt="2022-04-13T08:39:02.865" v="2614" actId="20577"/>
          <ac:spMkLst>
            <pc:docMk/>
            <pc:sldMk cId="3056604384" sldId="433"/>
            <ac:spMk id="4" creationId="{AF59C985-5B95-4F74-BD37-B00B7B77AE54}"/>
          </ac:spMkLst>
        </pc:spChg>
        <pc:spChg chg="add mod ord">
          <ac:chgData name="Daniel Hamann" userId="847c405c-7417-4257-a34f-58113b877d74" providerId="ADAL" clId="{1173E080-8BED-4155-9D29-857F04B3702D}" dt="2022-04-13T08:12:56.609" v="1940" actId="700"/>
          <ac:spMkLst>
            <pc:docMk/>
            <pc:sldMk cId="3056604384" sldId="433"/>
            <ac:spMk id="5" creationId="{BBD0CBB6-DE83-46EA-8053-E3915423D04D}"/>
          </ac:spMkLst>
        </pc:spChg>
        <pc:spChg chg="mod ord">
          <ac:chgData name="Daniel Hamann" userId="847c405c-7417-4257-a34f-58113b877d74" providerId="ADAL" clId="{1173E080-8BED-4155-9D29-857F04B3702D}" dt="2022-04-13T08:12:56.609" v="1940" actId="700"/>
          <ac:spMkLst>
            <pc:docMk/>
            <pc:sldMk cId="3056604384" sldId="433"/>
            <ac:spMk id="6" creationId="{AF8EAC61-3C64-4CF2-AE56-F3913C7E7E44}"/>
          </ac:spMkLst>
        </pc:spChg>
        <pc:spChg chg="del mod ord">
          <ac:chgData name="Daniel Hamann" userId="847c405c-7417-4257-a34f-58113b877d74" providerId="ADAL" clId="{1173E080-8BED-4155-9D29-857F04B3702D}" dt="2022-04-13T08:12:56.609" v="1940" actId="700"/>
          <ac:spMkLst>
            <pc:docMk/>
            <pc:sldMk cId="3056604384" sldId="433"/>
            <ac:spMk id="7" creationId="{D50CC3DF-8961-49F8-90D9-F547AFEE9186}"/>
          </ac:spMkLst>
        </pc:spChg>
        <pc:spChg chg="del mod ord">
          <ac:chgData name="Daniel Hamann" userId="847c405c-7417-4257-a34f-58113b877d74" providerId="ADAL" clId="{1173E080-8BED-4155-9D29-857F04B3702D}" dt="2022-04-13T08:12:56.609" v="1940" actId="700"/>
          <ac:spMkLst>
            <pc:docMk/>
            <pc:sldMk cId="3056604384" sldId="433"/>
            <ac:spMk id="8" creationId="{82386CFA-D341-49FB-A188-F1C1F6015781}"/>
          </ac:spMkLst>
        </pc:spChg>
        <pc:spChg chg="del mod ord">
          <ac:chgData name="Daniel Hamann" userId="847c405c-7417-4257-a34f-58113b877d74" providerId="ADAL" clId="{1173E080-8BED-4155-9D29-857F04B3702D}" dt="2022-04-13T08:12:56.609" v="1940" actId="700"/>
          <ac:spMkLst>
            <pc:docMk/>
            <pc:sldMk cId="3056604384" sldId="433"/>
            <ac:spMk id="9" creationId="{D9614D97-67F5-405E-A1F8-19E97372C175}"/>
          </ac:spMkLst>
        </pc:spChg>
        <pc:spChg chg="del mod ord">
          <ac:chgData name="Daniel Hamann" userId="847c405c-7417-4257-a34f-58113b877d74" providerId="ADAL" clId="{1173E080-8BED-4155-9D29-857F04B3702D}" dt="2022-04-13T08:12:56.609" v="1940" actId="700"/>
          <ac:spMkLst>
            <pc:docMk/>
            <pc:sldMk cId="3056604384" sldId="433"/>
            <ac:spMk id="10" creationId="{3F189A5D-5DEC-4792-AEEE-C61F5CAA8354}"/>
          </ac:spMkLst>
        </pc:spChg>
        <pc:spChg chg="add del mod ord">
          <ac:chgData name="Daniel Hamann" userId="847c405c-7417-4257-a34f-58113b877d74" providerId="ADAL" clId="{1173E080-8BED-4155-9D29-857F04B3702D}" dt="2022-04-13T08:13:02.728" v="1943" actId="478"/>
          <ac:spMkLst>
            <pc:docMk/>
            <pc:sldMk cId="3056604384" sldId="433"/>
            <ac:spMk id="12" creationId="{C138CB7B-7169-4C14-868E-8C1B926776B4}"/>
          </ac:spMkLst>
        </pc:spChg>
        <pc:spChg chg="add mod">
          <ac:chgData name="Daniel Hamann" userId="847c405c-7417-4257-a34f-58113b877d74" providerId="ADAL" clId="{1173E080-8BED-4155-9D29-857F04B3702D}" dt="2022-04-13T08:29:03.325" v="2584" actId="1076"/>
          <ac:spMkLst>
            <pc:docMk/>
            <pc:sldMk cId="3056604384" sldId="433"/>
            <ac:spMk id="13" creationId="{7828E0FC-C9A0-454E-866D-195EF47C0373}"/>
          </ac:spMkLst>
        </pc:spChg>
        <pc:spChg chg="add mod">
          <ac:chgData name="Daniel Hamann" userId="847c405c-7417-4257-a34f-58113b877d74" providerId="ADAL" clId="{1173E080-8BED-4155-9D29-857F04B3702D}" dt="2022-04-13T08:39:06.793" v="2616" actId="20577"/>
          <ac:spMkLst>
            <pc:docMk/>
            <pc:sldMk cId="3056604384" sldId="433"/>
            <ac:spMk id="14" creationId="{929EC83A-1D87-463D-A9F4-53F0E6278731}"/>
          </ac:spMkLst>
        </pc:spChg>
        <pc:spChg chg="add mod">
          <ac:chgData name="Daniel Hamann" userId="847c405c-7417-4257-a34f-58113b877d74" providerId="ADAL" clId="{1173E080-8BED-4155-9D29-857F04B3702D}" dt="2022-04-13T08:27:22.589" v="2397" actId="14100"/>
          <ac:spMkLst>
            <pc:docMk/>
            <pc:sldMk cId="3056604384" sldId="433"/>
            <ac:spMk id="18" creationId="{EFCAE295-F3AC-4532-953F-571DBD24D608}"/>
          </ac:spMkLst>
        </pc:spChg>
        <pc:spChg chg="add mod">
          <ac:chgData name="Daniel Hamann" userId="847c405c-7417-4257-a34f-58113b877d74" providerId="ADAL" clId="{1173E080-8BED-4155-9D29-857F04B3702D}" dt="2022-04-13T08:39:29.202" v="2620" actId="14100"/>
          <ac:spMkLst>
            <pc:docMk/>
            <pc:sldMk cId="3056604384" sldId="433"/>
            <ac:spMk id="22" creationId="{B5123976-0EAD-4CFD-B5D3-93ACDB2D9699}"/>
          </ac:spMkLst>
        </pc:spChg>
        <pc:spChg chg="add mod">
          <ac:chgData name="Daniel Hamann" userId="847c405c-7417-4257-a34f-58113b877d74" providerId="ADAL" clId="{1173E080-8BED-4155-9D29-857F04B3702D}" dt="2022-04-13T08:39:53.400" v="2628" actId="20577"/>
          <ac:spMkLst>
            <pc:docMk/>
            <pc:sldMk cId="3056604384" sldId="433"/>
            <ac:spMk id="23" creationId="{92BB7BD7-2B44-4D93-983D-F0ADE7BD3B04}"/>
          </ac:spMkLst>
        </pc:spChg>
        <pc:spChg chg="add mod">
          <ac:chgData name="Daniel Hamann" userId="847c405c-7417-4257-a34f-58113b877d74" providerId="ADAL" clId="{1173E080-8BED-4155-9D29-857F04B3702D}" dt="2022-04-13T08:39:41.937" v="2623" actId="14100"/>
          <ac:spMkLst>
            <pc:docMk/>
            <pc:sldMk cId="3056604384" sldId="433"/>
            <ac:spMk id="24" creationId="{A47DA54A-E5D4-48FA-9EE3-CDDE622544ED}"/>
          </ac:spMkLst>
        </pc:spChg>
        <pc:spChg chg="add mod">
          <ac:chgData name="Daniel Hamann" userId="847c405c-7417-4257-a34f-58113b877d74" providerId="ADAL" clId="{1173E080-8BED-4155-9D29-857F04B3702D}" dt="2022-04-13T08:39:55.921" v="2630" actId="20577"/>
          <ac:spMkLst>
            <pc:docMk/>
            <pc:sldMk cId="3056604384" sldId="433"/>
            <ac:spMk id="25" creationId="{03920D36-57FD-4096-BB29-CA955E226767}"/>
          </ac:spMkLst>
        </pc:spChg>
        <pc:picChg chg="add del mod modCrop">
          <ac:chgData name="Daniel Hamann" userId="847c405c-7417-4257-a34f-58113b877d74" providerId="ADAL" clId="{1173E080-8BED-4155-9D29-857F04B3702D}" dt="2022-04-13T08:25:50.391" v="2384" actId="478"/>
          <ac:picMkLst>
            <pc:docMk/>
            <pc:sldMk cId="3056604384" sldId="433"/>
            <ac:picMk id="11" creationId="{376C2DA8-CE48-407C-8E93-6B386DECA04B}"/>
          </ac:picMkLst>
        </pc:picChg>
        <pc:picChg chg="add mod ord">
          <ac:chgData name="Daniel Hamann" userId="847c405c-7417-4257-a34f-58113b877d74" providerId="ADAL" clId="{1173E080-8BED-4155-9D29-857F04B3702D}" dt="2022-04-13T08:27:49.164" v="2405" actId="14861"/>
          <ac:picMkLst>
            <pc:docMk/>
            <pc:sldMk cId="3056604384" sldId="433"/>
            <ac:picMk id="16" creationId="{01A23270-A4DC-4213-97E4-306C7879D23B}"/>
          </ac:picMkLst>
        </pc:picChg>
        <pc:picChg chg="add del mod">
          <ac:chgData name="Daniel Hamann" userId="847c405c-7417-4257-a34f-58113b877d74" providerId="ADAL" clId="{1173E080-8BED-4155-9D29-857F04B3702D}" dt="2022-04-13T08:21:38.810" v="2201" actId="478"/>
          <ac:picMkLst>
            <pc:docMk/>
            <pc:sldMk cId="3056604384" sldId="433"/>
            <ac:picMk id="17" creationId="{85292420-321D-49F5-8E01-AEDE06B46C1E}"/>
          </ac:picMkLst>
        </pc:picChg>
        <pc:picChg chg="add mod">
          <ac:chgData name="Daniel Hamann" userId="847c405c-7417-4257-a34f-58113b877d74" providerId="ADAL" clId="{1173E080-8BED-4155-9D29-857F04B3702D}" dt="2022-04-13T08:27:43.232" v="2403" actId="1076"/>
          <ac:picMkLst>
            <pc:docMk/>
            <pc:sldMk cId="3056604384" sldId="433"/>
            <ac:picMk id="19" creationId="{2326ED74-546F-4A56-9A54-978A26521CDE}"/>
          </ac:picMkLst>
        </pc:picChg>
        <pc:picChg chg="add mod ord modCrop">
          <ac:chgData name="Daniel Hamann" userId="847c405c-7417-4257-a34f-58113b877d74" providerId="ADAL" clId="{1173E080-8BED-4155-9D29-857F04B3702D}" dt="2022-04-13T08:26:41.031" v="2395" actId="732"/>
          <ac:picMkLst>
            <pc:docMk/>
            <pc:sldMk cId="3056604384" sldId="433"/>
            <ac:picMk id="21" creationId="{F14D4847-9BC8-4212-9696-F2B027444D0C}"/>
          </ac:picMkLst>
        </pc:picChg>
      </pc:sldChg>
      <pc:sldChg chg="addSp delSp modSp del mod modClrScheme chgLayout">
        <pc:chgData name="Daniel Hamann" userId="847c405c-7417-4257-a34f-58113b877d74" providerId="ADAL" clId="{1173E080-8BED-4155-9D29-857F04B3702D}" dt="2022-04-12T16:51:40.996" v="413" actId="47"/>
        <pc:sldMkLst>
          <pc:docMk/>
          <pc:sldMk cId="1062719980" sldId="434"/>
        </pc:sldMkLst>
        <pc:spChg chg="mod ord">
          <ac:chgData name="Daniel Hamann" userId="847c405c-7417-4257-a34f-58113b877d74" providerId="ADAL" clId="{1173E080-8BED-4155-9D29-857F04B3702D}" dt="2022-04-12T13:55:24.754" v="1" actId="700"/>
          <ac:spMkLst>
            <pc:docMk/>
            <pc:sldMk cId="1062719980" sldId="434"/>
            <ac:spMk id="3" creationId="{1F4D5F3E-D201-4C7A-9407-E39025F1533B}"/>
          </ac:spMkLst>
        </pc:spChg>
        <pc:spChg chg="del mod ord">
          <ac:chgData name="Daniel Hamann" userId="847c405c-7417-4257-a34f-58113b877d74" providerId="ADAL" clId="{1173E080-8BED-4155-9D29-857F04B3702D}" dt="2022-04-12T13:55:24.754" v="1" actId="700"/>
          <ac:spMkLst>
            <pc:docMk/>
            <pc:sldMk cId="1062719980" sldId="434"/>
            <ac:spMk id="4" creationId="{9294021A-F930-41F7-BD5C-24C1B4D74B5C}"/>
          </ac:spMkLst>
        </pc:spChg>
        <pc:spChg chg="del mod ord">
          <ac:chgData name="Daniel Hamann" userId="847c405c-7417-4257-a34f-58113b877d74" providerId="ADAL" clId="{1173E080-8BED-4155-9D29-857F04B3702D}" dt="2022-04-12T13:55:24.754" v="1" actId="700"/>
          <ac:spMkLst>
            <pc:docMk/>
            <pc:sldMk cId="1062719980" sldId="434"/>
            <ac:spMk id="5" creationId="{DBA6B9EE-6AAF-4996-AE25-E0B3B6BEEB3F}"/>
          </ac:spMkLst>
        </pc:spChg>
        <pc:spChg chg="mod ord">
          <ac:chgData name="Daniel Hamann" userId="847c405c-7417-4257-a34f-58113b877d74" providerId="ADAL" clId="{1173E080-8BED-4155-9D29-857F04B3702D}" dt="2022-04-12T13:55:24.754" v="1" actId="700"/>
          <ac:spMkLst>
            <pc:docMk/>
            <pc:sldMk cId="1062719980" sldId="434"/>
            <ac:spMk id="6" creationId="{AF8EAC61-3C64-4CF2-AE56-F3913C7E7E44}"/>
          </ac:spMkLst>
        </pc:spChg>
        <pc:spChg chg="add mod ord">
          <ac:chgData name="Daniel Hamann" userId="847c405c-7417-4257-a34f-58113b877d74" providerId="ADAL" clId="{1173E080-8BED-4155-9D29-857F04B3702D}" dt="2022-04-12T13:55:24.754" v="1" actId="700"/>
          <ac:spMkLst>
            <pc:docMk/>
            <pc:sldMk cId="1062719980" sldId="434"/>
            <ac:spMk id="7" creationId="{479EE7EE-177C-4DC3-BA25-82749226EF59}"/>
          </ac:spMkLst>
        </pc:spChg>
        <pc:spChg chg="add mod ord">
          <ac:chgData name="Daniel Hamann" userId="847c405c-7417-4257-a34f-58113b877d74" providerId="ADAL" clId="{1173E080-8BED-4155-9D29-857F04B3702D}" dt="2022-04-12T13:55:24.754" v="1" actId="700"/>
          <ac:spMkLst>
            <pc:docMk/>
            <pc:sldMk cId="1062719980" sldId="434"/>
            <ac:spMk id="8" creationId="{DBAF5433-54A6-4456-A33A-C73EFAAB57E9}"/>
          </ac:spMkLst>
        </pc:spChg>
        <pc:spChg chg="add del mod ord">
          <ac:chgData name="Daniel Hamann" userId="847c405c-7417-4257-a34f-58113b877d74" providerId="ADAL" clId="{1173E080-8BED-4155-9D29-857F04B3702D}" dt="2022-04-12T13:55:30.646" v="3" actId="478"/>
          <ac:spMkLst>
            <pc:docMk/>
            <pc:sldMk cId="1062719980" sldId="434"/>
            <ac:spMk id="9" creationId="{31536F63-912F-47B6-86EB-0A424904B33A}"/>
          </ac:spMkLst>
        </pc:spChg>
        <pc:spChg chg="del mod ord">
          <ac:chgData name="Daniel Hamann" userId="847c405c-7417-4257-a34f-58113b877d74" providerId="ADAL" clId="{1173E080-8BED-4155-9D29-857F04B3702D}" dt="2022-04-12T13:55:24.754" v="1" actId="700"/>
          <ac:spMkLst>
            <pc:docMk/>
            <pc:sldMk cId="1062719980" sldId="434"/>
            <ac:spMk id="11" creationId="{088BF6E9-83BC-40A3-B30D-DF1B013A8AD2}"/>
          </ac:spMkLst>
        </pc:spChg>
        <pc:picChg chg="mod ord">
          <ac:chgData name="Daniel Hamann" userId="847c405c-7417-4257-a34f-58113b877d74" providerId="ADAL" clId="{1173E080-8BED-4155-9D29-857F04B3702D}" dt="2022-04-12T13:55:38.374" v="5" actId="14100"/>
          <ac:picMkLst>
            <pc:docMk/>
            <pc:sldMk cId="1062719980" sldId="434"/>
            <ac:picMk id="2" creationId="{67D6E333-437D-4975-B487-878A0A68DF3A}"/>
          </ac:picMkLst>
        </pc:picChg>
      </pc:sldChg>
      <pc:sldChg chg="addSp delSp modSp new mod ord delAnim modAnim">
        <pc:chgData name="Daniel Hamann" userId="847c405c-7417-4257-a34f-58113b877d74" providerId="ADAL" clId="{1173E080-8BED-4155-9D29-857F04B3702D}" dt="2022-04-13T08:58:32.001" v="3558" actId="2085"/>
        <pc:sldMkLst>
          <pc:docMk/>
          <pc:sldMk cId="4019473684" sldId="435"/>
        </pc:sldMkLst>
        <pc:spChg chg="mod">
          <ac:chgData name="Daniel Hamann" userId="847c405c-7417-4257-a34f-58113b877d74" providerId="ADAL" clId="{1173E080-8BED-4155-9D29-857F04B3702D}" dt="2022-04-12T16:59:10.845" v="1251" actId="20577"/>
          <ac:spMkLst>
            <pc:docMk/>
            <pc:sldMk cId="4019473684" sldId="435"/>
            <ac:spMk id="3" creationId="{41085146-20D3-4105-B278-1A0BFB4933CC}"/>
          </ac:spMkLst>
        </pc:spChg>
        <pc:spChg chg="del">
          <ac:chgData name="Daniel Hamann" userId="847c405c-7417-4257-a34f-58113b877d74" providerId="ADAL" clId="{1173E080-8BED-4155-9D29-857F04B3702D}" dt="2022-04-12T16:55:10.404" v="635" actId="478"/>
          <ac:spMkLst>
            <pc:docMk/>
            <pc:sldMk cId="4019473684" sldId="435"/>
            <ac:spMk id="4" creationId="{8716F09E-13E1-4C08-9D49-AB14067AFA81}"/>
          </ac:spMkLst>
        </pc:spChg>
        <pc:spChg chg="mod">
          <ac:chgData name="Daniel Hamann" userId="847c405c-7417-4257-a34f-58113b877d74" providerId="ADAL" clId="{1173E080-8BED-4155-9D29-857F04B3702D}" dt="2022-04-12T16:56:43.567" v="713" actId="5793"/>
          <ac:spMkLst>
            <pc:docMk/>
            <pc:sldMk cId="4019473684" sldId="435"/>
            <ac:spMk id="5" creationId="{B9F0684C-FFDF-47C7-A0E1-654184514076}"/>
          </ac:spMkLst>
        </pc:spChg>
        <pc:spChg chg="mod">
          <ac:chgData name="Daniel Hamann" userId="847c405c-7417-4257-a34f-58113b877d74" providerId="ADAL" clId="{1173E080-8BED-4155-9D29-857F04B3702D}" dt="2022-04-12T16:54:59.872" v="632" actId="20577"/>
          <ac:spMkLst>
            <pc:docMk/>
            <pc:sldMk cId="4019473684" sldId="435"/>
            <ac:spMk id="6" creationId="{07550D0F-192B-4EB9-9501-90C1DEFBF170}"/>
          </ac:spMkLst>
        </pc:spChg>
        <pc:spChg chg="add mod">
          <ac:chgData name="Daniel Hamann" userId="847c405c-7417-4257-a34f-58113b877d74" providerId="ADAL" clId="{1173E080-8BED-4155-9D29-857F04B3702D}" dt="2022-04-13T08:10:14.823" v="1932"/>
          <ac:spMkLst>
            <pc:docMk/>
            <pc:sldMk cId="4019473684" sldId="435"/>
            <ac:spMk id="22" creationId="{F15D0F4D-DFA8-40B9-A9B6-B92AC19ED178}"/>
          </ac:spMkLst>
        </pc:spChg>
        <pc:picChg chg="add del mod">
          <ac:chgData name="Daniel Hamann" userId="847c405c-7417-4257-a34f-58113b877d74" providerId="ADAL" clId="{1173E080-8BED-4155-9D29-857F04B3702D}" dt="2022-04-12T16:54:48.644" v="623" actId="478"/>
          <ac:picMkLst>
            <pc:docMk/>
            <pc:sldMk cId="4019473684" sldId="435"/>
            <ac:picMk id="8" creationId="{3D1613BA-2457-4508-BF5D-53657C938400}"/>
          </ac:picMkLst>
        </pc:picChg>
        <pc:picChg chg="add mod">
          <ac:chgData name="Daniel Hamann" userId="847c405c-7417-4257-a34f-58113b877d74" providerId="ADAL" clId="{1173E080-8BED-4155-9D29-857F04B3702D}" dt="2022-04-13T08:58:32.001" v="3558" actId="2085"/>
          <ac:picMkLst>
            <pc:docMk/>
            <pc:sldMk cId="4019473684" sldId="435"/>
            <ac:picMk id="9" creationId="{FBB9CCE4-4D71-4DDF-8581-F074A871D459}"/>
          </ac:picMkLst>
        </pc:picChg>
        <pc:picChg chg="add del mod">
          <ac:chgData name="Daniel Hamann" userId="847c405c-7417-4257-a34f-58113b877d74" providerId="ADAL" clId="{1173E080-8BED-4155-9D29-857F04B3702D}" dt="2022-04-12T16:55:37.694" v="642"/>
          <ac:picMkLst>
            <pc:docMk/>
            <pc:sldMk cId="4019473684" sldId="435"/>
            <ac:picMk id="10" creationId="{EDC1437C-5170-4F17-BB64-CA11CC38D67C}"/>
          </ac:picMkLst>
        </pc:picChg>
        <pc:picChg chg="add del mod">
          <ac:chgData name="Daniel Hamann" userId="847c405c-7417-4257-a34f-58113b877d74" providerId="ADAL" clId="{1173E080-8BED-4155-9D29-857F04B3702D}" dt="2022-04-13T07:29:42.274" v="1283" actId="478"/>
          <ac:picMkLst>
            <pc:docMk/>
            <pc:sldMk cId="4019473684" sldId="435"/>
            <ac:picMk id="11" creationId="{CA944D49-A613-47A2-AD35-7031B96D39A7}"/>
          </ac:picMkLst>
        </pc:picChg>
        <pc:picChg chg="add del mod">
          <ac:chgData name="Daniel Hamann" userId="847c405c-7417-4257-a34f-58113b877d74" providerId="ADAL" clId="{1173E080-8BED-4155-9D29-857F04B3702D}" dt="2022-04-13T07:31:42.003" v="1301" actId="478"/>
          <ac:picMkLst>
            <pc:docMk/>
            <pc:sldMk cId="4019473684" sldId="435"/>
            <ac:picMk id="13" creationId="{F31104AC-AC98-4A78-9DFD-A7250EDB90F0}"/>
          </ac:picMkLst>
        </pc:picChg>
        <pc:picChg chg="add del mod">
          <ac:chgData name="Daniel Hamann" userId="847c405c-7417-4257-a34f-58113b877d74" providerId="ADAL" clId="{1173E080-8BED-4155-9D29-857F04B3702D}" dt="2022-04-13T07:31:25.055" v="1296" actId="478"/>
          <ac:picMkLst>
            <pc:docMk/>
            <pc:sldMk cId="4019473684" sldId="435"/>
            <ac:picMk id="15" creationId="{F0F24990-5832-4A1D-B1FA-25C3F8C6F1CF}"/>
          </ac:picMkLst>
        </pc:picChg>
        <pc:picChg chg="add del mod">
          <ac:chgData name="Daniel Hamann" userId="847c405c-7417-4257-a34f-58113b877d74" providerId="ADAL" clId="{1173E080-8BED-4155-9D29-857F04B3702D}" dt="2022-04-13T07:31:42.003" v="1301" actId="478"/>
          <ac:picMkLst>
            <pc:docMk/>
            <pc:sldMk cId="4019473684" sldId="435"/>
            <ac:picMk id="17" creationId="{87E2788D-9C1C-47EF-8C13-19FB9AA055C9}"/>
          </ac:picMkLst>
        </pc:picChg>
        <pc:picChg chg="add del mod">
          <ac:chgData name="Daniel Hamann" userId="847c405c-7417-4257-a34f-58113b877d74" providerId="ADAL" clId="{1173E080-8BED-4155-9D29-857F04B3702D}" dt="2022-04-13T08:05:52.761" v="1904" actId="478"/>
          <ac:picMkLst>
            <pc:docMk/>
            <pc:sldMk cId="4019473684" sldId="435"/>
            <ac:picMk id="18" creationId="{DB3FE6E7-528F-4C39-A079-377C2BC796DF}"/>
          </ac:picMkLst>
        </pc:picChg>
        <pc:picChg chg="add del mod">
          <ac:chgData name="Daniel Hamann" userId="847c405c-7417-4257-a34f-58113b877d74" providerId="ADAL" clId="{1173E080-8BED-4155-9D29-857F04B3702D}" dt="2022-04-13T07:49:14.383" v="1315"/>
          <ac:picMkLst>
            <pc:docMk/>
            <pc:sldMk cId="4019473684" sldId="435"/>
            <ac:picMk id="19" creationId="{AAA6B5F6-BD5D-4DB7-B971-05655D02E557}"/>
          </ac:picMkLst>
        </pc:picChg>
        <pc:picChg chg="add del mod">
          <ac:chgData name="Daniel Hamann" userId="847c405c-7417-4257-a34f-58113b877d74" providerId="ADAL" clId="{1173E080-8BED-4155-9D29-857F04B3702D}" dt="2022-04-13T08:10:14.298" v="1931" actId="478"/>
          <ac:picMkLst>
            <pc:docMk/>
            <pc:sldMk cId="4019473684" sldId="435"/>
            <ac:picMk id="20" creationId="{D104EF9E-DDC7-4050-8F28-40FFBFD90A16}"/>
          </ac:picMkLst>
        </pc:picChg>
        <pc:picChg chg="add mod">
          <ac:chgData name="Daniel Hamann" userId="847c405c-7417-4257-a34f-58113b877d74" providerId="ADAL" clId="{1173E080-8BED-4155-9D29-857F04B3702D}" dt="2022-04-13T08:10:14.823" v="1932"/>
          <ac:picMkLst>
            <pc:docMk/>
            <pc:sldMk cId="4019473684" sldId="435"/>
            <ac:picMk id="21" creationId="{C0548DAB-8CBF-43E4-A0E8-229A732E4BEC}"/>
          </ac:picMkLst>
        </pc:picChg>
      </pc:sldChg>
      <pc:sldChg chg="addSp delSp modSp new mod">
        <pc:chgData name="Daniel Hamann" userId="847c405c-7417-4257-a34f-58113b877d74" providerId="ADAL" clId="{1173E080-8BED-4155-9D29-857F04B3702D}" dt="2022-04-13T08:57:41.012" v="3553" actId="1076"/>
        <pc:sldMkLst>
          <pc:docMk/>
          <pc:sldMk cId="4078766610" sldId="436"/>
        </pc:sldMkLst>
        <pc:spChg chg="mod">
          <ac:chgData name="Daniel Hamann" userId="847c405c-7417-4257-a34f-58113b877d74" providerId="ADAL" clId="{1173E080-8BED-4155-9D29-857F04B3702D}" dt="2022-04-13T08:52:37.805" v="3468" actId="313"/>
          <ac:spMkLst>
            <pc:docMk/>
            <pc:sldMk cId="4078766610" sldId="436"/>
            <ac:spMk id="3" creationId="{BFFE3C7F-00AD-4B12-817C-7ED189EB1610}"/>
          </ac:spMkLst>
        </pc:spChg>
        <pc:spChg chg="mod">
          <ac:chgData name="Daniel Hamann" userId="847c405c-7417-4257-a34f-58113b877d74" providerId="ADAL" clId="{1173E080-8BED-4155-9D29-857F04B3702D}" dt="2022-04-12T16:33:33.428" v="65"/>
          <ac:spMkLst>
            <pc:docMk/>
            <pc:sldMk cId="4078766610" sldId="436"/>
            <ac:spMk id="6" creationId="{1E334096-65A7-4D92-9B19-7347807EDDD9}"/>
          </ac:spMkLst>
        </pc:spChg>
        <pc:spChg chg="add mod">
          <ac:chgData name="Daniel Hamann" userId="847c405c-7417-4257-a34f-58113b877d74" providerId="ADAL" clId="{1173E080-8BED-4155-9D29-857F04B3702D}" dt="2022-04-12T16:33:27.411" v="64"/>
          <ac:spMkLst>
            <pc:docMk/>
            <pc:sldMk cId="4078766610" sldId="436"/>
            <ac:spMk id="10" creationId="{EB43F172-32C2-4D0F-B3BB-CDA52CF47EB8}"/>
          </ac:spMkLst>
        </pc:spChg>
        <pc:spChg chg="add mod">
          <ac:chgData name="Daniel Hamann" userId="847c405c-7417-4257-a34f-58113b877d74" providerId="ADAL" clId="{1173E080-8BED-4155-9D29-857F04B3702D}" dt="2022-04-12T16:47:58.550" v="370" actId="1038"/>
          <ac:spMkLst>
            <pc:docMk/>
            <pc:sldMk cId="4078766610" sldId="436"/>
            <ac:spMk id="11" creationId="{D0227A9D-FCE7-4251-BBE4-E2715AD9D3D1}"/>
          </ac:spMkLst>
        </pc:spChg>
        <pc:spChg chg="add mod">
          <ac:chgData name="Daniel Hamann" userId="847c405c-7417-4257-a34f-58113b877d74" providerId="ADAL" clId="{1173E080-8BED-4155-9D29-857F04B3702D}" dt="2022-04-12T16:48:19.934" v="375" actId="14100"/>
          <ac:spMkLst>
            <pc:docMk/>
            <pc:sldMk cId="4078766610" sldId="436"/>
            <ac:spMk id="12" creationId="{7ACEFEF3-07E2-4012-836E-F593B13D8DB0}"/>
          </ac:spMkLst>
        </pc:spChg>
        <pc:spChg chg="add mod">
          <ac:chgData name="Daniel Hamann" userId="847c405c-7417-4257-a34f-58113b877d74" providerId="ADAL" clId="{1173E080-8BED-4155-9D29-857F04B3702D}" dt="2022-04-13T08:57:20.875" v="3549" actId="1076"/>
          <ac:spMkLst>
            <pc:docMk/>
            <pc:sldMk cId="4078766610" sldId="436"/>
            <ac:spMk id="13" creationId="{064BB6B3-42C7-4808-AE2C-1278D7B5D0A3}"/>
          </ac:spMkLst>
        </pc:spChg>
        <pc:spChg chg="add mod">
          <ac:chgData name="Daniel Hamann" userId="847c405c-7417-4257-a34f-58113b877d74" providerId="ADAL" clId="{1173E080-8BED-4155-9D29-857F04B3702D}" dt="2022-04-13T08:57:41.012" v="3553" actId="1076"/>
          <ac:spMkLst>
            <pc:docMk/>
            <pc:sldMk cId="4078766610" sldId="436"/>
            <ac:spMk id="14" creationId="{D513602A-6062-463D-94A0-9E7E55F26117}"/>
          </ac:spMkLst>
        </pc:spChg>
        <pc:spChg chg="add mod">
          <ac:chgData name="Daniel Hamann" userId="847c405c-7417-4257-a34f-58113b877d74" providerId="ADAL" clId="{1173E080-8BED-4155-9D29-857F04B3702D}" dt="2022-04-13T08:57:30.419" v="3551" actId="1076"/>
          <ac:spMkLst>
            <pc:docMk/>
            <pc:sldMk cId="4078766610" sldId="436"/>
            <ac:spMk id="15" creationId="{A527174F-E032-4D03-AE23-613B8EF816DE}"/>
          </ac:spMkLst>
        </pc:spChg>
        <pc:picChg chg="add mod">
          <ac:chgData name="Daniel Hamann" userId="847c405c-7417-4257-a34f-58113b877d74" providerId="ADAL" clId="{1173E080-8BED-4155-9D29-857F04B3702D}" dt="2022-04-12T16:33:38.981" v="67" actId="1076"/>
          <ac:picMkLst>
            <pc:docMk/>
            <pc:sldMk cId="4078766610" sldId="436"/>
            <ac:picMk id="8" creationId="{4E994418-7328-4F97-B120-FEA8910A7D2F}"/>
          </ac:picMkLst>
        </pc:picChg>
        <pc:picChg chg="add mod">
          <ac:chgData name="Daniel Hamann" userId="847c405c-7417-4257-a34f-58113b877d74" providerId="ADAL" clId="{1173E080-8BED-4155-9D29-857F04B3702D}" dt="2022-04-12T16:49:37.480" v="387" actId="1076"/>
          <ac:picMkLst>
            <pc:docMk/>
            <pc:sldMk cId="4078766610" sldId="436"/>
            <ac:picMk id="9" creationId="{48733DAE-2677-4BD3-8018-8828B38C3025}"/>
          </ac:picMkLst>
        </pc:picChg>
        <pc:picChg chg="add del mod">
          <ac:chgData name="Daniel Hamann" userId="847c405c-7417-4257-a34f-58113b877d74" providerId="ADAL" clId="{1173E080-8BED-4155-9D29-857F04B3702D}" dt="2022-04-12T17:07:55.928" v="1273" actId="478"/>
          <ac:picMkLst>
            <pc:docMk/>
            <pc:sldMk cId="4078766610" sldId="436"/>
            <ac:picMk id="16" creationId="{121661B6-CF87-456C-BD6E-761A5C3A1DF1}"/>
          </ac:picMkLst>
        </pc:picChg>
      </pc:sldChg>
      <pc:sldChg chg="addSp delSp modSp add mod modAnim">
        <pc:chgData name="Daniel Hamann" userId="847c405c-7417-4257-a34f-58113b877d74" providerId="ADAL" clId="{1173E080-8BED-4155-9D29-857F04B3702D}" dt="2022-04-13T08:58:26.483" v="3557" actId="1035"/>
        <pc:sldMkLst>
          <pc:docMk/>
          <pc:sldMk cId="4183544056" sldId="437"/>
        </pc:sldMkLst>
        <pc:spChg chg="mod">
          <ac:chgData name="Daniel Hamann" userId="847c405c-7417-4257-a34f-58113b877d74" providerId="ADAL" clId="{1173E080-8BED-4155-9D29-857F04B3702D}" dt="2022-04-12T16:59:25.972" v="1256" actId="20577"/>
          <ac:spMkLst>
            <pc:docMk/>
            <pc:sldMk cId="4183544056" sldId="437"/>
            <ac:spMk id="3" creationId="{41085146-20D3-4105-B278-1A0BFB4933CC}"/>
          </ac:spMkLst>
        </pc:spChg>
        <pc:spChg chg="del">
          <ac:chgData name="Daniel Hamann" userId="847c405c-7417-4257-a34f-58113b877d74" providerId="ADAL" clId="{1173E080-8BED-4155-9D29-857F04B3702D}" dt="2022-04-12T16:59:55.479" v="1258" actId="478"/>
          <ac:spMkLst>
            <pc:docMk/>
            <pc:sldMk cId="4183544056" sldId="437"/>
            <ac:spMk id="4" creationId="{8716F09E-13E1-4C08-9D49-AB14067AFA81}"/>
          </ac:spMkLst>
        </pc:spChg>
        <pc:spChg chg="add mod">
          <ac:chgData name="Daniel Hamann" userId="847c405c-7417-4257-a34f-58113b877d74" providerId="ADAL" clId="{1173E080-8BED-4155-9D29-857F04B3702D}" dt="2022-04-13T08:10:18.698" v="1934"/>
          <ac:spMkLst>
            <pc:docMk/>
            <pc:sldMk cId="4183544056" sldId="437"/>
            <ac:spMk id="12" creationId="{7F5CC2D9-B904-485B-8A21-CA954FB8BE79}"/>
          </ac:spMkLst>
        </pc:spChg>
        <pc:picChg chg="mod">
          <ac:chgData name="Daniel Hamann" userId="847c405c-7417-4257-a34f-58113b877d74" providerId="ADAL" clId="{1173E080-8BED-4155-9D29-857F04B3702D}" dt="2022-04-13T08:58:26.483" v="3557" actId="1035"/>
          <ac:picMkLst>
            <pc:docMk/>
            <pc:sldMk cId="4183544056" sldId="437"/>
            <ac:picMk id="8" creationId="{3D1613BA-2457-4508-BF5D-53657C938400}"/>
          </ac:picMkLst>
        </pc:picChg>
        <pc:picChg chg="add del mod">
          <ac:chgData name="Daniel Hamann" userId="847c405c-7417-4257-a34f-58113b877d74" providerId="ADAL" clId="{1173E080-8BED-4155-9D29-857F04B3702D}" dt="2022-04-13T08:05:38.458" v="1900" actId="478"/>
          <ac:picMkLst>
            <pc:docMk/>
            <pc:sldMk cId="4183544056" sldId="437"/>
            <ac:picMk id="9" creationId="{3822A464-B617-4A22-BEAE-CBA4F0AAD43A}"/>
          </ac:picMkLst>
        </pc:picChg>
        <pc:picChg chg="add del mod">
          <ac:chgData name="Daniel Hamann" userId="847c405c-7417-4257-a34f-58113b877d74" providerId="ADAL" clId="{1173E080-8BED-4155-9D29-857F04B3702D}" dt="2022-04-13T08:10:17.948" v="1933" actId="478"/>
          <ac:picMkLst>
            <pc:docMk/>
            <pc:sldMk cId="4183544056" sldId="437"/>
            <ac:picMk id="10" creationId="{F72AAAAA-E19B-4C6C-8A2B-528A05AE47E5}"/>
          </ac:picMkLst>
        </pc:picChg>
        <pc:picChg chg="add mod">
          <ac:chgData name="Daniel Hamann" userId="847c405c-7417-4257-a34f-58113b877d74" providerId="ADAL" clId="{1173E080-8BED-4155-9D29-857F04B3702D}" dt="2022-04-13T08:10:18.698" v="1934"/>
          <ac:picMkLst>
            <pc:docMk/>
            <pc:sldMk cId="4183544056" sldId="437"/>
            <ac:picMk id="11" creationId="{3B13E47C-4B0F-4B14-8813-AD1CDFA3A7B8}"/>
          </ac:picMkLst>
        </pc:picChg>
      </pc:sldChg>
      <pc:sldChg chg="addSp delSp modSp add mod ord delAnim chgLayout">
        <pc:chgData name="Daniel Hamann" userId="847c405c-7417-4257-a34f-58113b877d74" providerId="ADAL" clId="{1173E080-8BED-4155-9D29-857F04B3702D}" dt="2022-04-13T09:16:46.429" v="3684" actId="6549"/>
        <pc:sldMkLst>
          <pc:docMk/>
          <pc:sldMk cId="4097106166" sldId="438"/>
        </pc:sldMkLst>
        <pc:spChg chg="mod ord">
          <ac:chgData name="Daniel Hamann" userId="847c405c-7417-4257-a34f-58113b877d74" providerId="ADAL" clId="{1173E080-8BED-4155-9D29-857F04B3702D}" dt="2022-04-12T16:56:12.449" v="654" actId="700"/>
          <ac:spMkLst>
            <pc:docMk/>
            <pc:sldMk cId="4097106166" sldId="438"/>
            <ac:spMk id="2" creationId="{D50546D6-4775-4BA8-AEA7-5C58A595D9B4}"/>
          </ac:spMkLst>
        </pc:spChg>
        <pc:spChg chg="mod ord">
          <ac:chgData name="Daniel Hamann" userId="847c405c-7417-4257-a34f-58113b877d74" providerId="ADAL" clId="{1173E080-8BED-4155-9D29-857F04B3702D}" dt="2022-04-13T09:16:46.429" v="3684" actId="6549"/>
          <ac:spMkLst>
            <pc:docMk/>
            <pc:sldMk cId="4097106166" sldId="438"/>
            <ac:spMk id="3" creationId="{41085146-20D3-4105-B278-1A0BFB4933CC}"/>
          </ac:spMkLst>
        </pc:spChg>
        <pc:spChg chg="add mod ord">
          <ac:chgData name="Daniel Hamann" userId="847c405c-7417-4257-a34f-58113b877d74" providerId="ADAL" clId="{1173E080-8BED-4155-9D29-857F04B3702D}" dt="2022-04-12T16:56:36.531" v="689" actId="20577"/>
          <ac:spMkLst>
            <pc:docMk/>
            <pc:sldMk cId="4097106166" sldId="438"/>
            <ac:spMk id="4" creationId="{B5922A4A-39A7-4419-AA18-882BCFF20C6F}"/>
          </ac:spMkLst>
        </pc:spChg>
        <pc:spChg chg="del">
          <ac:chgData name="Daniel Hamann" userId="847c405c-7417-4257-a34f-58113b877d74" providerId="ADAL" clId="{1173E080-8BED-4155-9D29-857F04B3702D}" dt="2022-04-12T16:56:12.449" v="654" actId="700"/>
          <ac:spMkLst>
            <pc:docMk/>
            <pc:sldMk cId="4097106166" sldId="438"/>
            <ac:spMk id="5" creationId="{B9F0684C-FFDF-47C7-A0E1-654184514076}"/>
          </ac:spMkLst>
        </pc:spChg>
        <pc:spChg chg="mod ord">
          <ac:chgData name="Daniel Hamann" userId="847c405c-7417-4257-a34f-58113b877d74" providerId="ADAL" clId="{1173E080-8BED-4155-9D29-857F04B3702D}" dt="2022-04-12T16:56:12.449" v="654" actId="700"/>
          <ac:spMkLst>
            <pc:docMk/>
            <pc:sldMk cId="4097106166" sldId="438"/>
            <ac:spMk id="6" creationId="{07550D0F-192B-4EB9-9501-90C1DEFBF170}"/>
          </ac:spMkLst>
        </pc:spChg>
        <pc:spChg chg="del">
          <ac:chgData name="Daniel Hamann" userId="847c405c-7417-4257-a34f-58113b877d74" providerId="ADAL" clId="{1173E080-8BED-4155-9D29-857F04B3702D}" dt="2022-04-12T16:56:12.449" v="654" actId="700"/>
          <ac:spMkLst>
            <pc:docMk/>
            <pc:sldMk cId="4097106166" sldId="438"/>
            <ac:spMk id="7" creationId="{9AA12C82-1CB2-4349-8F3E-103691F17D55}"/>
          </ac:spMkLst>
        </pc:spChg>
        <pc:spChg chg="add mod ord">
          <ac:chgData name="Daniel Hamann" userId="847c405c-7417-4257-a34f-58113b877d74" providerId="ADAL" clId="{1173E080-8BED-4155-9D29-857F04B3702D}" dt="2022-04-12T16:56:12.449" v="654" actId="700"/>
          <ac:spMkLst>
            <pc:docMk/>
            <pc:sldMk cId="4097106166" sldId="438"/>
            <ac:spMk id="10" creationId="{937D117A-2641-4B03-BC08-6F7ABEC2F112}"/>
          </ac:spMkLst>
        </pc:spChg>
        <pc:spChg chg="add del mod ord">
          <ac:chgData name="Daniel Hamann" userId="847c405c-7417-4257-a34f-58113b877d74" providerId="ADAL" clId="{1173E080-8BED-4155-9D29-857F04B3702D}" dt="2022-04-12T16:56:27.648" v="661" actId="478"/>
          <ac:spMkLst>
            <pc:docMk/>
            <pc:sldMk cId="4097106166" sldId="438"/>
            <ac:spMk id="11" creationId="{9BFA8776-BC83-431A-BBC5-9936805BDC45}"/>
          </ac:spMkLst>
        </pc:spChg>
        <pc:spChg chg="add mod">
          <ac:chgData name="Daniel Hamann" userId="847c405c-7417-4257-a34f-58113b877d74" providerId="ADAL" clId="{1173E080-8BED-4155-9D29-857F04B3702D}" dt="2022-04-13T08:56:59.129" v="3547" actId="14100"/>
          <ac:spMkLst>
            <pc:docMk/>
            <pc:sldMk cId="4097106166" sldId="438"/>
            <ac:spMk id="12" creationId="{1B6470BC-4FF3-490E-B5D4-05B84E5DE5FE}"/>
          </ac:spMkLst>
        </pc:spChg>
        <pc:spChg chg="add mod">
          <ac:chgData name="Daniel Hamann" userId="847c405c-7417-4257-a34f-58113b877d74" providerId="ADAL" clId="{1173E080-8BED-4155-9D29-857F04B3702D}" dt="2022-04-13T08:57:50.065" v="3554" actId="1076"/>
          <ac:spMkLst>
            <pc:docMk/>
            <pc:sldMk cId="4097106166" sldId="438"/>
            <ac:spMk id="13" creationId="{BCD5DAB7-14F7-4D0F-BAD7-035CD5B392AF}"/>
          </ac:spMkLst>
        </pc:spChg>
        <pc:spChg chg="add mod">
          <ac:chgData name="Daniel Hamann" userId="847c405c-7417-4257-a34f-58113b877d74" providerId="ADAL" clId="{1173E080-8BED-4155-9D29-857F04B3702D}" dt="2022-04-13T08:56:35.503" v="3544" actId="14100"/>
          <ac:spMkLst>
            <pc:docMk/>
            <pc:sldMk cId="4097106166" sldId="438"/>
            <ac:spMk id="14" creationId="{E3350E42-44DE-4622-B5F3-6507132D9226}"/>
          </ac:spMkLst>
        </pc:spChg>
        <pc:spChg chg="add mod">
          <ac:chgData name="Daniel Hamann" userId="847c405c-7417-4257-a34f-58113b877d74" providerId="ADAL" clId="{1173E080-8BED-4155-9D29-857F04B3702D}" dt="2022-04-13T08:56:42.340" v="3545" actId="1076"/>
          <ac:spMkLst>
            <pc:docMk/>
            <pc:sldMk cId="4097106166" sldId="438"/>
            <ac:spMk id="15" creationId="{24F1A60E-ADCD-4C34-B0C9-B64E8C56892D}"/>
          </ac:spMkLst>
        </pc:spChg>
        <pc:spChg chg="add mod">
          <ac:chgData name="Daniel Hamann" userId="847c405c-7417-4257-a34f-58113b877d74" providerId="ADAL" clId="{1173E080-8BED-4155-9D29-857F04B3702D}" dt="2022-04-13T08:55:39.649" v="3534" actId="1076"/>
          <ac:spMkLst>
            <pc:docMk/>
            <pc:sldMk cId="4097106166" sldId="438"/>
            <ac:spMk id="21" creationId="{7B3BAFDA-3872-46E7-9C78-10851F11DA9A}"/>
          </ac:spMkLst>
        </pc:spChg>
        <pc:spChg chg="add mod">
          <ac:chgData name="Daniel Hamann" userId="847c405c-7417-4257-a34f-58113b877d74" providerId="ADAL" clId="{1173E080-8BED-4155-9D29-857F04B3702D}" dt="2022-04-13T08:55:50.019" v="3539" actId="1076"/>
          <ac:spMkLst>
            <pc:docMk/>
            <pc:sldMk cId="4097106166" sldId="438"/>
            <ac:spMk id="22" creationId="{D35A8288-B9D6-411D-BB49-3EE2223A15CE}"/>
          </ac:spMkLst>
        </pc:spChg>
        <pc:spChg chg="add mod">
          <ac:chgData name="Daniel Hamann" userId="847c405c-7417-4257-a34f-58113b877d74" providerId="ADAL" clId="{1173E080-8BED-4155-9D29-857F04B3702D}" dt="2022-04-13T08:55:54.393" v="3540" actId="571"/>
          <ac:spMkLst>
            <pc:docMk/>
            <pc:sldMk cId="4097106166" sldId="438"/>
            <ac:spMk id="23" creationId="{B16BA737-0C5F-45E6-9A95-F5CB04559612}"/>
          </ac:spMkLst>
        </pc:spChg>
        <pc:spChg chg="add mod">
          <ac:chgData name="Daniel Hamann" userId="847c405c-7417-4257-a34f-58113b877d74" providerId="ADAL" clId="{1173E080-8BED-4155-9D29-857F04B3702D}" dt="2022-04-13T08:55:57.820" v="3541" actId="571"/>
          <ac:spMkLst>
            <pc:docMk/>
            <pc:sldMk cId="4097106166" sldId="438"/>
            <ac:spMk id="24" creationId="{9F7658EB-E5DE-4883-9F7B-F12756F6E942}"/>
          </ac:spMkLst>
        </pc:spChg>
        <pc:picChg chg="add mod">
          <ac:chgData name="Daniel Hamann" userId="847c405c-7417-4257-a34f-58113b877d74" providerId="ADAL" clId="{1173E080-8BED-4155-9D29-857F04B3702D}" dt="2022-04-13T08:55:43.052" v="3537" actId="1076"/>
          <ac:picMkLst>
            <pc:docMk/>
            <pc:sldMk cId="4097106166" sldId="438"/>
            <ac:picMk id="8" creationId="{F1D67463-7177-46F2-A71F-0F0F99DE3EE7}"/>
          </ac:picMkLst>
        </pc:picChg>
        <pc:picChg chg="del">
          <ac:chgData name="Daniel Hamann" userId="847c405c-7417-4257-a34f-58113b877d74" providerId="ADAL" clId="{1173E080-8BED-4155-9D29-857F04B3702D}" dt="2022-04-12T16:55:58.623" v="647" actId="478"/>
          <ac:picMkLst>
            <pc:docMk/>
            <pc:sldMk cId="4097106166" sldId="438"/>
            <ac:picMk id="9" creationId="{FBB9CCE4-4D71-4DDF-8581-F074A871D459}"/>
          </ac:picMkLst>
        </pc:picChg>
        <pc:cxnChg chg="add mod">
          <ac:chgData name="Daniel Hamann" userId="847c405c-7417-4257-a34f-58113b877d74" providerId="ADAL" clId="{1173E080-8BED-4155-9D29-857F04B3702D}" dt="2022-04-13T08:53:30" v="3472" actId="693"/>
          <ac:cxnSpMkLst>
            <pc:docMk/>
            <pc:sldMk cId="4097106166" sldId="438"/>
            <ac:cxnSpMk id="17" creationId="{AC99751C-E03D-4875-BAD8-3BD75F536C50}"/>
          </ac:cxnSpMkLst>
        </pc:cxnChg>
        <pc:cxnChg chg="add mod">
          <ac:chgData name="Daniel Hamann" userId="847c405c-7417-4257-a34f-58113b877d74" providerId="ADAL" clId="{1173E080-8BED-4155-9D29-857F04B3702D}" dt="2022-04-13T08:53:35.771" v="3474" actId="1076"/>
          <ac:cxnSpMkLst>
            <pc:docMk/>
            <pc:sldMk cId="4097106166" sldId="438"/>
            <ac:cxnSpMk id="18" creationId="{6EBAE07B-454F-4CEA-A69C-26C2CCF5D92B}"/>
          </ac:cxnSpMkLst>
        </pc:cxnChg>
        <pc:cxnChg chg="add mod">
          <ac:chgData name="Daniel Hamann" userId="847c405c-7417-4257-a34f-58113b877d74" providerId="ADAL" clId="{1173E080-8BED-4155-9D29-857F04B3702D}" dt="2022-04-13T08:53:39.952" v="3476" actId="1076"/>
          <ac:cxnSpMkLst>
            <pc:docMk/>
            <pc:sldMk cId="4097106166" sldId="438"/>
            <ac:cxnSpMk id="19" creationId="{56A31113-4D42-4E9D-8B54-29E59FBD9C70}"/>
          </ac:cxnSpMkLst>
        </pc:cxnChg>
        <pc:cxnChg chg="add mod">
          <ac:chgData name="Daniel Hamann" userId="847c405c-7417-4257-a34f-58113b877d74" providerId="ADAL" clId="{1173E080-8BED-4155-9D29-857F04B3702D}" dt="2022-04-13T08:53:57.085" v="3478" actId="1076"/>
          <ac:cxnSpMkLst>
            <pc:docMk/>
            <pc:sldMk cId="4097106166" sldId="438"/>
            <ac:cxnSpMk id="20" creationId="{FA211A5A-737D-47B7-A38E-DC9655633E80}"/>
          </ac:cxnSpMkLst>
        </pc:cxnChg>
      </pc:sldChg>
      <pc:sldChg chg="addSp delSp modSp add mod ord delAnim">
        <pc:chgData name="Daniel Hamann" userId="847c405c-7417-4257-a34f-58113b877d74" providerId="ADAL" clId="{1173E080-8BED-4155-9D29-857F04B3702D}" dt="2022-04-13T09:01:27.853" v="3659" actId="20577"/>
        <pc:sldMkLst>
          <pc:docMk/>
          <pc:sldMk cId="2993571560" sldId="439"/>
        </pc:sldMkLst>
        <pc:spChg chg="mod">
          <ac:chgData name="Daniel Hamann" userId="847c405c-7417-4257-a34f-58113b877d74" providerId="ADAL" clId="{1173E080-8BED-4155-9D29-857F04B3702D}" dt="2022-04-13T09:01:15.476" v="3651" actId="11"/>
          <ac:spMkLst>
            <pc:docMk/>
            <pc:sldMk cId="2993571560" sldId="439"/>
            <ac:spMk id="4" creationId="{D8847D70-44AA-4990-BC31-6408F317C97E}"/>
          </ac:spMkLst>
        </pc:spChg>
        <pc:spChg chg="add mod">
          <ac:chgData name="Daniel Hamann" userId="847c405c-7417-4257-a34f-58113b877d74" providerId="ADAL" clId="{1173E080-8BED-4155-9D29-857F04B3702D}" dt="2022-04-13T08:03:24.602" v="1775" actId="164"/>
          <ac:spMkLst>
            <pc:docMk/>
            <pc:sldMk cId="2993571560" sldId="439"/>
            <ac:spMk id="9" creationId="{205DB991-887E-4F93-B321-2AAFA8794EBE}"/>
          </ac:spMkLst>
        </pc:spChg>
        <pc:spChg chg="add del mod">
          <ac:chgData name="Daniel Hamann" userId="847c405c-7417-4257-a34f-58113b877d74" providerId="ADAL" clId="{1173E080-8BED-4155-9D29-857F04B3702D}" dt="2022-04-13T07:55:18.378" v="1555" actId="478"/>
          <ac:spMkLst>
            <pc:docMk/>
            <pc:sldMk cId="2993571560" sldId="439"/>
            <ac:spMk id="15" creationId="{3D36219A-9CE8-4C69-9369-D9E5C11DC860}"/>
          </ac:spMkLst>
        </pc:spChg>
        <pc:spChg chg="add del mod">
          <ac:chgData name="Daniel Hamann" userId="847c405c-7417-4257-a34f-58113b877d74" providerId="ADAL" clId="{1173E080-8BED-4155-9D29-857F04B3702D}" dt="2022-04-13T07:57:16.648" v="1566" actId="478"/>
          <ac:spMkLst>
            <pc:docMk/>
            <pc:sldMk cId="2993571560" sldId="439"/>
            <ac:spMk id="16" creationId="{FCD28192-980A-4435-8FDB-A4EE549BA12C}"/>
          </ac:spMkLst>
        </pc:spChg>
        <pc:spChg chg="add mod">
          <ac:chgData name="Daniel Hamann" userId="847c405c-7417-4257-a34f-58113b877d74" providerId="ADAL" clId="{1173E080-8BED-4155-9D29-857F04B3702D}" dt="2022-04-13T08:03:24.602" v="1775" actId="164"/>
          <ac:spMkLst>
            <pc:docMk/>
            <pc:sldMk cId="2993571560" sldId="439"/>
            <ac:spMk id="17" creationId="{7B52AF1E-9AA3-4B73-BC22-D6B145B997F3}"/>
          </ac:spMkLst>
        </pc:spChg>
        <pc:spChg chg="add mod">
          <ac:chgData name="Daniel Hamann" userId="847c405c-7417-4257-a34f-58113b877d74" providerId="ADAL" clId="{1173E080-8BED-4155-9D29-857F04B3702D}" dt="2022-04-13T07:58:50.558" v="1585" actId="14100"/>
          <ac:spMkLst>
            <pc:docMk/>
            <pc:sldMk cId="2993571560" sldId="439"/>
            <ac:spMk id="19" creationId="{DC63A760-2B70-4243-AE56-E39C1FE3D88F}"/>
          </ac:spMkLst>
        </pc:spChg>
        <pc:spChg chg="add mod">
          <ac:chgData name="Daniel Hamann" userId="847c405c-7417-4257-a34f-58113b877d74" providerId="ADAL" clId="{1173E080-8BED-4155-9D29-857F04B3702D}" dt="2022-04-13T08:03:01.362" v="1774" actId="1076"/>
          <ac:spMkLst>
            <pc:docMk/>
            <pc:sldMk cId="2993571560" sldId="439"/>
            <ac:spMk id="20" creationId="{9B4446A1-9D05-4CCF-93BA-4293D4150C97}"/>
          </ac:spMkLst>
        </pc:spChg>
        <pc:spChg chg="add mod">
          <ac:chgData name="Daniel Hamann" userId="847c405c-7417-4257-a34f-58113b877d74" providerId="ADAL" clId="{1173E080-8BED-4155-9D29-857F04B3702D}" dt="2022-04-13T07:59:58.569" v="1628" actId="14100"/>
          <ac:spMkLst>
            <pc:docMk/>
            <pc:sldMk cId="2993571560" sldId="439"/>
            <ac:spMk id="21" creationId="{5ECFA1C1-851E-490D-9594-9246BFAD0713}"/>
          </ac:spMkLst>
        </pc:spChg>
        <pc:spChg chg="add mod">
          <ac:chgData name="Daniel Hamann" userId="847c405c-7417-4257-a34f-58113b877d74" providerId="ADAL" clId="{1173E080-8BED-4155-9D29-857F04B3702D}" dt="2022-04-13T08:00:02.378" v="1629" actId="14100"/>
          <ac:spMkLst>
            <pc:docMk/>
            <pc:sldMk cId="2993571560" sldId="439"/>
            <ac:spMk id="22" creationId="{663EB220-3F98-49ED-90A7-667AFADE12F3}"/>
          </ac:spMkLst>
        </pc:spChg>
        <pc:spChg chg="add mod">
          <ac:chgData name="Daniel Hamann" userId="847c405c-7417-4257-a34f-58113b877d74" providerId="ADAL" clId="{1173E080-8BED-4155-9D29-857F04B3702D}" dt="2022-04-13T07:59:42.789" v="1602" actId="14100"/>
          <ac:spMkLst>
            <pc:docMk/>
            <pc:sldMk cId="2993571560" sldId="439"/>
            <ac:spMk id="23" creationId="{0CAB968B-9C95-4E26-8F16-B5570F001EC4}"/>
          </ac:spMkLst>
        </pc:spChg>
        <pc:spChg chg="add mod">
          <ac:chgData name="Daniel Hamann" userId="847c405c-7417-4257-a34f-58113b877d74" providerId="ADAL" clId="{1173E080-8BED-4155-9D29-857F04B3702D}" dt="2022-04-13T09:01:18.409" v="3653" actId="20577"/>
          <ac:spMkLst>
            <pc:docMk/>
            <pc:sldMk cId="2993571560" sldId="439"/>
            <ac:spMk id="24" creationId="{FDD5BC5D-F16D-4354-AC60-B3EAB096EE4C}"/>
          </ac:spMkLst>
        </pc:spChg>
        <pc:spChg chg="add mod">
          <ac:chgData name="Daniel Hamann" userId="847c405c-7417-4257-a34f-58113b877d74" providerId="ADAL" clId="{1173E080-8BED-4155-9D29-857F04B3702D}" dt="2022-04-13T09:01:25.058" v="3657" actId="20577"/>
          <ac:spMkLst>
            <pc:docMk/>
            <pc:sldMk cId="2993571560" sldId="439"/>
            <ac:spMk id="25" creationId="{FE03F208-878A-4CDC-AE08-70B4ABF9E597}"/>
          </ac:spMkLst>
        </pc:spChg>
        <pc:spChg chg="add mod">
          <ac:chgData name="Daniel Hamann" userId="847c405c-7417-4257-a34f-58113b877d74" providerId="ADAL" clId="{1173E080-8BED-4155-9D29-857F04B3702D}" dt="2022-04-13T09:01:21.763" v="3655" actId="20577"/>
          <ac:spMkLst>
            <pc:docMk/>
            <pc:sldMk cId="2993571560" sldId="439"/>
            <ac:spMk id="26" creationId="{C35EC40F-7FA7-4D73-BCB8-9F91FD0EC0CA}"/>
          </ac:spMkLst>
        </pc:spChg>
        <pc:spChg chg="add mod">
          <ac:chgData name="Daniel Hamann" userId="847c405c-7417-4257-a34f-58113b877d74" providerId="ADAL" clId="{1173E080-8BED-4155-9D29-857F04B3702D}" dt="2022-04-13T08:01:36.499" v="1649" actId="14100"/>
          <ac:spMkLst>
            <pc:docMk/>
            <pc:sldMk cId="2993571560" sldId="439"/>
            <ac:spMk id="27" creationId="{888DEE9C-81B7-4469-8D09-0E4855455F13}"/>
          </ac:spMkLst>
        </pc:spChg>
        <pc:spChg chg="add del mod">
          <ac:chgData name="Daniel Hamann" userId="847c405c-7417-4257-a34f-58113b877d74" providerId="ADAL" clId="{1173E080-8BED-4155-9D29-857F04B3702D}" dt="2022-04-13T08:01:41.368" v="1651"/>
          <ac:spMkLst>
            <pc:docMk/>
            <pc:sldMk cId="2993571560" sldId="439"/>
            <ac:spMk id="28" creationId="{CBC4BA70-51BE-4736-B7EF-6F7A161C6C16}"/>
          </ac:spMkLst>
        </pc:spChg>
        <pc:spChg chg="add mod">
          <ac:chgData name="Daniel Hamann" userId="847c405c-7417-4257-a34f-58113b877d74" providerId="ADAL" clId="{1173E080-8BED-4155-9D29-857F04B3702D}" dt="2022-04-13T09:01:27.853" v="3659" actId="20577"/>
          <ac:spMkLst>
            <pc:docMk/>
            <pc:sldMk cId="2993571560" sldId="439"/>
            <ac:spMk id="29" creationId="{3BA083F0-908D-40AD-AE96-5807D1E1296F}"/>
          </ac:spMkLst>
        </pc:spChg>
        <pc:grpChg chg="add mod">
          <ac:chgData name="Daniel Hamann" userId="847c405c-7417-4257-a34f-58113b877d74" providerId="ADAL" clId="{1173E080-8BED-4155-9D29-857F04B3702D}" dt="2022-04-13T08:03:30.467" v="1776" actId="1076"/>
          <ac:grpSpMkLst>
            <pc:docMk/>
            <pc:sldMk cId="2993571560" sldId="439"/>
            <ac:grpSpMk id="10" creationId="{8116DA52-809C-41F0-99C6-F9A996087888}"/>
          </ac:grpSpMkLst>
        </pc:grpChg>
        <pc:picChg chg="add mod modCrop">
          <ac:chgData name="Daniel Hamann" userId="847c405c-7417-4257-a34f-58113b877d74" providerId="ADAL" clId="{1173E080-8BED-4155-9D29-857F04B3702D}" dt="2022-04-13T07:59:30.796" v="1598" actId="1076"/>
          <ac:picMkLst>
            <pc:docMk/>
            <pc:sldMk cId="2993571560" sldId="439"/>
            <ac:picMk id="8" creationId="{D6E5F567-6207-49EC-9E4F-DCDB78BDC025}"/>
          </ac:picMkLst>
        </pc:picChg>
        <pc:picChg chg="add mod">
          <ac:chgData name="Daniel Hamann" userId="847c405c-7417-4257-a34f-58113b877d74" providerId="ADAL" clId="{1173E080-8BED-4155-9D29-857F04B3702D}" dt="2022-04-13T08:03:24.602" v="1775" actId="164"/>
          <ac:picMkLst>
            <pc:docMk/>
            <pc:sldMk cId="2993571560" sldId="439"/>
            <ac:picMk id="11" creationId="{6DF953EE-81A6-40D3-A7FA-3A7FD1C3F084}"/>
          </ac:picMkLst>
        </pc:picChg>
        <pc:picChg chg="add del mod">
          <ac:chgData name="Daniel Hamann" userId="847c405c-7417-4257-a34f-58113b877d74" providerId="ADAL" clId="{1173E080-8BED-4155-9D29-857F04B3702D}" dt="2022-04-13T07:54:42.954" v="1546" actId="478"/>
          <ac:picMkLst>
            <pc:docMk/>
            <pc:sldMk cId="2993571560" sldId="439"/>
            <ac:picMk id="12" creationId="{9D2203A0-953F-45A4-ACC7-84A8BE66562C}"/>
          </ac:picMkLst>
        </pc:picChg>
        <pc:picChg chg="del">
          <ac:chgData name="Daniel Hamann" userId="847c405c-7417-4257-a34f-58113b877d74" providerId="ADAL" clId="{1173E080-8BED-4155-9D29-857F04B3702D}" dt="2022-04-13T07:49:19.670" v="1317" actId="478"/>
          <ac:picMkLst>
            <pc:docMk/>
            <pc:sldMk cId="2993571560" sldId="439"/>
            <ac:picMk id="13" creationId="{0400C425-88CB-4C08-B157-634E101C4B2B}"/>
          </ac:picMkLst>
        </pc:picChg>
        <pc:picChg chg="del">
          <ac:chgData name="Daniel Hamann" userId="847c405c-7417-4257-a34f-58113b877d74" providerId="ADAL" clId="{1173E080-8BED-4155-9D29-857F04B3702D}" dt="2022-04-13T07:50:09.548" v="1326" actId="478"/>
          <ac:picMkLst>
            <pc:docMk/>
            <pc:sldMk cId="2993571560" sldId="439"/>
            <ac:picMk id="14" creationId="{7C9AF4EE-C81C-4008-B80D-AB4A898C2312}"/>
          </ac:picMkLst>
        </pc:picChg>
        <pc:picChg chg="add del mod">
          <ac:chgData name="Daniel Hamann" userId="847c405c-7417-4257-a34f-58113b877d74" providerId="ADAL" clId="{1173E080-8BED-4155-9D29-857F04B3702D}" dt="2022-04-13T08:07:33.429" v="1909" actId="478"/>
          <ac:picMkLst>
            <pc:docMk/>
            <pc:sldMk cId="2993571560" sldId="439"/>
            <ac:picMk id="18" creationId="{93BBA630-5D11-497E-A7D3-B7534CB2831B}"/>
          </ac:picMkLst>
        </pc:picChg>
      </pc:sldChg>
    </pc:docChg>
  </pc:docChgLst>
  <pc:docChgLst>
    <pc:chgData name="Claas Dibke" userId="ddcbaaf6-1c3b-47d3-adc9-2339165010e6" providerId="ADAL" clId="{09C448A6-06D1-43B9-93C3-21DA400932BD}"/>
    <pc:docChg chg="custSel modSld modMainMaster replTag">
      <pc:chgData name="Claas Dibke" userId="ddcbaaf6-1c3b-47d3-adc9-2339165010e6" providerId="ADAL" clId="{09C448A6-06D1-43B9-93C3-21DA400932BD}" dt="2022-02-18T12:11:47.070" v="158" actId="15"/>
      <pc:docMkLst>
        <pc:docMk/>
      </pc:docMkLst>
      <pc:sldChg chg="addSp delSp modSp mod">
        <pc:chgData name="Claas Dibke" userId="ddcbaaf6-1c3b-47d3-adc9-2339165010e6" providerId="ADAL" clId="{09C448A6-06D1-43B9-93C3-21DA400932BD}" dt="2022-02-18T12:09:34.031" v="157"/>
        <pc:sldMkLst>
          <pc:docMk/>
          <pc:sldMk cId="947004393" sldId="336"/>
        </pc:sldMkLst>
        <pc:spChg chg="add del mod modVis">
          <ac:chgData name="Claas Dibke" userId="ddcbaaf6-1c3b-47d3-adc9-2339165010e6" providerId="ADAL" clId="{09C448A6-06D1-43B9-93C3-21DA400932BD}" dt="2022-02-18T12:09:32.590" v="79"/>
          <ac:spMkLst>
            <pc:docMk/>
            <pc:sldMk cId="947004393" sldId="336"/>
            <ac:spMk id="2" creationId="{FE9A6511-B981-4B5F-9456-0D310FF542B7}"/>
          </ac:spMkLst>
        </pc:spChg>
        <pc:spChg chg="add del mod modVis">
          <ac:chgData name="Claas Dibke" userId="ddcbaaf6-1c3b-47d3-adc9-2339165010e6" providerId="ADAL" clId="{09C448A6-06D1-43B9-93C3-21DA400932BD}" dt="2022-02-18T12:09:34.029" v="155"/>
          <ac:spMkLst>
            <pc:docMk/>
            <pc:sldMk cId="947004393" sldId="336"/>
            <ac:spMk id="4" creationId="{9DB27942-CC68-4303-B840-658256C13165}"/>
          </ac:spMkLst>
        </pc:spChg>
        <pc:spChg chg="mod">
          <ac:chgData name="Claas Dibke" userId="ddcbaaf6-1c3b-47d3-adc9-2339165010e6" providerId="ADAL" clId="{09C448A6-06D1-43B9-93C3-21DA400932BD}" dt="2022-02-18T12:09:33.982" v="115" actId="948"/>
          <ac:spMkLst>
            <pc:docMk/>
            <pc:sldMk cId="947004393" sldId="336"/>
            <ac:spMk id="14" creationId="{B07F6F48-85B6-4FFA-9856-27CF4F35ACE8}"/>
          </ac:spMkLst>
        </pc:spChg>
        <pc:graphicFrameChg chg="add mod ord modVis replST">
          <ac:chgData name="Claas Dibke" userId="ddcbaaf6-1c3b-47d3-adc9-2339165010e6" providerId="ADAL" clId="{09C448A6-06D1-43B9-93C3-21DA400932BD}" dt="2022-02-18T12:09:34.031" v="157"/>
          <ac:graphicFrameMkLst>
            <pc:docMk/>
            <pc:sldMk cId="947004393" sldId="336"/>
            <ac:graphicFrameMk id="3" creationId="{8BFE861F-BC5A-4E6C-B1CC-485130A4C153}"/>
          </ac:graphicFrameMkLst>
        </pc:graphicFrameChg>
      </pc:sldChg>
      <pc:sldChg chg="modSp mod">
        <pc:chgData name="Claas Dibke" userId="ddcbaaf6-1c3b-47d3-adc9-2339165010e6" providerId="ADAL" clId="{09C448A6-06D1-43B9-93C3-21DA400932BD}" dt="2022-02-18T12:11:47.070" v="158" actId="15"/>
        <pc:sldMkLst>
          <pc:docMk/>
          <pc:sldMk cId="2497184076" sldId="378"/>
        </pc:sldMkLst>
        <pc:spChg chg="mod">
          <ac:chgData name="Claas Dibke" userId="ddcbaaf6-1c3b-47d3-adc9-2339165010e6" providerId="ADAL" clId="{09C448A6-06D1-43B9-93C3-21DA400932BD}" dt="2022-02-18T12:11:47.070" v="158" actId="15"/>
          <ac:spMkLst>
            <pc:docMk/>
            <pc:sldMk cId="2497184076" sldId="378"/>
            <ac:spMk id="10" creationId="{7A141C31-F668-415A-B4AA-1AD8755ED907}"/>
          </ac:spMkLst>
        </pc:spChg>
      </pc:sldChg>
      <pc:sldMasterChg chg="addSp delSp modSp mod">
        <pc:chgData name="Claas Dibke" userId="ddcbaaf6-1c3b-47d3-adc9-2339165010e6" providerId="ADAL" clId="{09C448A6-06D1-43B9-93C3-21DA400932BD}" dt="2022-02-18T12:09:32.728" v="113"/>
        <pc:sldMasterMkLst>
          <pc:docMk/>
          <pc:sldMasterMk cId="4171192528" sldId="2147483648"/>
        </pc:sldMasterMkLst>
        <pc:spChg chg="mod">
          <ac:chgData name="Claas Dibke" userId="ddcbaaf6-1c3b-47d3-adc9-2339165010e6" providerId="ADAL" clId="{09C448A6-06D1-43B9-93C3-21DA400932BD}" dt="2022-02-18T12:09:32.531" v="39" actId="948"/>
          <ac:spMkLst>
            <pc:docMk/>
            <pc:sldMasterMk cId="4171192528" sldId="2147483648"/>
            <ac:spMk id="2" creationId="{06838A31-5826-430D-8C02-F9E9B58F7A8C}"/>
          </ac:spMkLst>
        </pc:spChg>
        <pc:spChg chg="add del mod modVis">
          <ac:chgData name="Claas Dibke" userId="ddcbaaf6-1c3b-47d3-adc9-2339165010e6" providerId="ADAL" clId="{09C448A6-06D1-43B9-93C3-21DA400932BD}" dt="2022-02-18T12:09:32.704" v="97"/>
          <ac:spMkLst>
            <pc:docMk/>
            <pc:sldMasterMk cId="4171192528" sldId="2147483648"/>
            <ac:spMk id="4" creationId="{C081FAF1-B161-4177-9B44-EC7DC522A04B}"/>
          </ac:spMkLst>
        </pc:spChg>
        <pc:graphicFrameChg chg="add mod ord modVis replST">
          <ac:chgData name="Claas Dibke" userId="ddcbaaf6-1c3b-47d3-adc9-2339165010e6" providerId="ADAL" clId="{09C448A6-06D1-43B9-93C3-21DA400932BD}" dt="2022-02-18T12:09:32.728" v="113"/>
          <ac:graphicFrameMkLst>
            <pc:docMk/>
            <pc:sldMasterMk cId="4171192528" sldId="2147483648"/>
            <ac:graphicFrameMk id="5" creationId="{CDFF45E0-A3BD-43AA-8C26-2ACC16E53449}"/>
          </ac:graphicFrameMkLst>
        </pc:graphicFrameChg>
      </pc:sldMasterChg>
    </pc:docChg>
  </pc:docChgLst>
  <pc:docChgLst>
    <pc:chgData name="Daniel Hens" userId="d245be30-eed3-4780-b032-3be0c65e8ee8" providerId="ADAL" clId="{C5175244-04CA-44B5-B06E-253F5367FE2D}"/>
    <pc:docChg chg="undo custSel addSld delSld modSld addSection delSection modSection">
      <pc:chgData name="Daniel Hens" userId="d245be30-eed3-4780-b032-3be0c65e8ee8" providerId="ADAL" clId="{C5175244-04CA-44B5-B06E-253F5367FE2D}" dt="2022-03-25T12:57:41.137" v="11"/>
      <pc:docMkLst>
        <pc:docMk/>
      </pc:docMkLst>
      <pc:sldChg chg="modSp add del mod">
        <pc:chgData name="Daniel Hens" userId="d245be30-eed3-4780-b032-3be0c65e8ee8" providerId="ADAL" clId="{C5175244-04CA-44B5-B06E-253F5367FE2D}" dt="2022-03-25T12:57:41.137" v="11"/>
        <pc:sldMkLst>
          <pc:docMk/>
          <pc:sldMk cId="947004393" sldId="336"/>
        </pc:sldMkLst>
        <pc:graphicFrameChg chg="mod">
          <ac:chgData name="Daniel Hens" userId="d245be30-eed3-4780-b032-3be0c65e8ee8" providerId="ADAL" clId="{C5175244-04CA-44B5-B06E-253F5367FE2D}" dt="2022-03-25T12:57:41.137" v="11"/>
          <ac:graphicFrameMkLst>
            <pc:docMk/>
            <pc:sldMk cId="947004393" sldId="336"/>
            <ac:graphicFrameMk id="3" creationId="{8BFE861F-BC5A-4E6C-B1CC-485130A4C153}"/>
          </ac:graphicFrameMkLst>
        </pc:graphicFrameChg>
      </pc:sldChg>
      <pc:sldChg chg="add del">
        <pc:chgData name="Daniel Hens" userId="d245be30-eed3-4780-b032-3be0c65e8ee8" providerId="ADAL" clId="{C5175244-04CA-44B5-B06E-253F5367FE2D}" dt="2022-03-25T12:57:41.106" v="9" actId="47"/>
        <pc:sldMkLst>
          <pc:docMk/>
          <pc:sldMk cId="4155269180" sldId="337"/>
        </pc:sldMkLst>
      </pc:sldChg>
      <pc:sldChg chg="add del">
        <pc:chgData name="Daniel Hens" userId="d245be30-eed3-4780-b032-3be0c65e8ee8" providerId="ADAL" clId="{C5175244-04CA-44B5-B06E-253F5367FE2D}" dt="2022-03-25T12:57:41.106" v="9" actId="47"/>
        <pc:sldMkLst>
          <pc:docMk/>
          <pc:sldMk cId="3419691827" sldId="338"/>
        </pc:sldMkLst>
      </pc:sldChg>
      <pc:sldChg chg="add del">
        <pc:chgData name="Daniel Hens" userId="d245be30-eed3-4780-b032-3be0c65e8ee8" providerId="ADAL" clId="{C5175244-04CA-44B5-B06E-253F5367FE2D}" dt="2022-03-25T12:57:40.794" v="8" actId="47"/>
        <pc:sldMkLst>
          <pc:docMk/>
          <pc:sldMk cId="3038720959" sldId="339"/>
        </pc:sldMkLst>
      </pc:sldChg>
      <pc:sldChg chg="add del">
        <pc:chgData name="Daniel Hens" userId="d245be30-eed3-4780-b032-3be0c65e8ee8" providerId="ADAL" clId="{C5175244-04CA-44B5-B06E-253F5367FE2D}" dt="2022-03-25T12:57:40.794" v="8" actId="47"/>
        <pc:sldMkLst>
          <pc:docMk/>
          <pc:sldMk cId="254456047" sldId="340"/>
        </pc:sldMkLst>
      </pc:sldChg>
      <pc:sldChg chg="add del">
        <pc:chgData name="Daniel Hens" userId="d245be30-eed3-4780-b032-3be0c65e8ee8" providerId="ADAL" clId="{C5175244-04CA-44B5-B06E-253F5367FE2D}" dt="2022-03-25T12:57:40.794" v="8" actId="47"/>
        <pc:sldMkLst>
          <pc:docMk/>
          <pc:sldMk cId="1370879864" sldId="341"/>
        </pc:sldMkLst>
      </pc:sldChg>
      <pc:sldChg chg="add del">
        <pc:chgData name="Daniel Hens" userId="d245be30-eed3-4780-b032-3be0c65e8ee8" providerId="ADAL" clId="{C5175244-04CA-44B5-B06E-253F5367FE2D}" dt="2022-03-25T12:57:40.794" v="8" actId="47"/>
        <pc:sldMkLst>
          <pc:docMk/>
          <pc:sldMk cId="684844852" sldId="343"/>
        </pc:sldMkLst>
      </pc:sldChg>
      <pc:sldChg chg="add del">
        <pc:chgData name="Daniel Hens" userId="d245be30-eed3-4780-b032-3be0c65e8ee8" providerId="ADAL" clId="{C5175244-04CA-44B5-B06E-253F5367FE2D}" dt="2022-03-25T12:57:40.794" v="8" actId="47"/>
        <pc:sldMkLst>
          <pc:docMk/>
          <pc:sldMk cId="31543976" sldId="344"/>
        </pc:sldMkLst>
      </pc:sldChg>
      <pc:sldChg chg="add del">
        <pc:chgData name="Daniel Hens" userId="d245be30-eed3-4780-b032-3be0c65e8ee8" providerId="ADAL" clId="{C5175244-04CA-44B5-B06E-253F5367FE2D}" dt="2022-03-25T12:57:40.794" v="8" actId="47"/>
        <pc:sldMkLst>
          <pc:docMk/>
          <pc:sldMk cId="1835701110" sldId="345"/>
        </pc:sldMkLst>
      </pc:sldChg>
      <pc:sldChg chg="add del">
        <pc:chgData name="Daniel Hens" userId="d245be30-eed3-4780-b032-3be0c65e8ee8" providerId="ADAL" clId="{C5175244-04CA-44B5-B06E-253F5367FE2D}" dt="2022-03-25T12:57:40.794" v="8" actId="47"/>
        <pc:sldMkLst>
          <pc:docMk/>
          <pc:sldMk cId="1524813662" sldId="346"/>
        </pc:sldMkLst>
      </pc:sldChg>
      <pc:sldChg chg="add del">
        <pc:chgData name="Daniel Hens" userId="d245be30-eed3-4780-b032-3be0c65e8ee8" providerId="ADAL" clId="{C5175244-04CA-44B5-B06E-253F5367FE2D}" dt="2022-03-25T12:57:40.794" v="8" actId="47"/>
        <pc:sldMkLst>
          <pc:docMk/>
          <pc:sldMk cId="336045514" sldId="347"/>
        </pc:sldMkLst>
      </pc:sldChg>
      <pc:sldChg chg="add del">
        <pc:chgData name="Daniel Hens" userId="d245be30-eed3-4780-b032-3be0c65e8ee8" providerId="ADAL" clId="{C5175244-04CA-44B5-B06E-253F5367FE2D}" dt="2022-03-25T12:57:40.794" v="8" actId="47"/>
        <pc:sldMkLst>
          <pc:docMk/>
          <pc:sldMk cId="3315295276" sldId="348"/>
        </pc:sldMkLst>
      </pc:sldChg>
      <pc:sldChg chg="add del">
        <pc:chgData name="Daniel Hens" userId="d245be30-eed3-4780-b032-3be0c65e8ee8" providerId="ADAL" clId="{C5175244-04CA-44B5-B06E-253F5367FE2D}" dt="2022-03-25T12:57:40.794" v="8" actId="47"/>
        <pc:sldMkLst>
          <pc:docMk/>
          <pc:sldMk cId="745662442" sldId="349"/>
        </pc:sldMkLst>
      </pc:sldChg>
      <pc:sldChg chg="add del">
        <pc:chgData name="Daniel Hens" userId="d245be30-eed3-4780-b032-3be0c65e8ee8" providerId="ADAL" clId="{C5175244-04CA-44B5-B06E-253F5367FE2D}" dt="2022-03-25T12:57:40.794" v="8" actId="47"/>
        <pc:sldMkLst>
          <pc:docMk/>
          <pc:sldMk cId="3354830306" sldId="350"/>
        </pc:sldMkLst>
      </pc:sldChg>
      <pc:sldChg chg="add del">
        <pc:chgData name="Daniel Hens" userId="d245be30-eed3-4780-b032-3be0c65e8ee8" providerId="ADAL" clId="{C5175244-04CA-44B5-B06E-253F5367FE2D}" dt="2022-03-25T12:57:40.794" v="8" actId="47"/>
        <pc:sldMkLst>
          <pc:docMk/>
          <pc:sldMk cId="1466448892" sldId="351"/>
        </pc:sldMkLst>
      </pc:sldChg>
      <pc:sldChg chg="add del">
        <pc:chgData name="Daniel Hens" userId="d245be30-eed3-4780-b032-3be0c65e8ee8" providerId="ADAL" clId="{C5175244-04CA-44B5-B06E-253F5367FE2D}" dt="2022-03-25T12:57:40.794" v="8" actId="47"/>
        <pc:sldMkLst>
          <pc:docMk/>
          <pc:sldMk cId="2704760124" sldId="352"/>
        </pc:sldMkLst>
      </pc:sldChg>
      <pc:sldChg chg="add del">
        <pc:chgData name="Daniel Hens" userId="d245be30-eed3-4780-b032-3be0c65e8ee8" providerId="ADAL" clId="{C5175244-04CA-44B5-B06E-253F5367FE2D}" dt="2022-03-25T12:57:40.794" v="8" actId="47"/>
        <pc:sldMkLst>
          <pc:docMk/>
          <pc:sldMk cId="2191268248" sldId="353"/>
        </pc:sldMkLst>
      </pc:sldChg>
      <pc:sldChg chg="add del">
        <pc:chgData name="Daniel Hens" userId="d245be30-eed3-4780-b032-3be0c65e8ee8" providerId="ADAL" clId="{C5175244-04CA-44B5-B06E-253F5367FE2D}" dt="2022-03-25T12:57:40.794" v="8" actId="47"/>
        <pc:sldMkLst>
          <pc:docMk/>
          <pc:sldMk cId="2037418230" sldId="354"/>
        </pc:sldMkLst>
      </pc:sldChg>
      <pc:sldChg chg="add del">
        <pc:chgData name="Daniel Hens" userId="d245be30-eed3-4780-b032-3be0c65e8ee8" providerId="ADAL" clId="{C5175244-04CA-44B5-B06E-253F5367FE2D}" dt="2022-03-25T12:57:40.794" v="8" actId="47"/>
        <pc:sldMkLst>
          <pc:docMk/>
          <pc:sldMk cId="302905050" sldId="355"/>
        </pc:sldMkLst>
      </pc:sldChg>
      <pc:sldChg chg="add del">
        <pc:chgData name="Daniel Hens" userId="d245be30-eed3-4780-b032-3be0c65e8ee8" providerId="ADAL" clId="{C5175244-04CA-44B5-B06E-253F5367FE2D}" dt="2022-03-25T12:57:40.794" v="8" actId="47"/>
        <pc:sldMkLst>
          <pc:docMk/>
          <pc:sldMk cId="2187347484" sldId="356"/>
        </pc:sldMkLst>
      </pc:sldChg>
      <pc:sldChg chg="add del">
        <pc:chgData name="Daniel Hens" userId="d245be30-eed3-4780-b032-3be0c65e8ee8" providerId="ADAL" clId="{C5175244-04CA-44B5-B06E-253F5367FE2D}" dt="2022-03-25T12:57:41.106" v="9" actId="47"/>
        <pc:sldMkLst>
          <pc:docMk/>
          <pc:sldMk cId="1630686082" sldId="359"/>
        </pc:sldMkLst>
      </pc:sldChg>
      <pc:sldChg chg="add del">
        <pc:chgData name="Daniel Hens" userId="d245be30-eed3-4780-b032-3be0c65e8ee8" providerId="ADAL" clId="{C5175244-04CA-44B5-B06E-253F5367FE2D}" dt="2022-03-25T12:57:40.794" v="8" actId="47"/>
        <pc:sldMkLst>
          <pc:docMk/>
          <pc:sldMk cId="4197691444" sldId="360"/>
        </pc:sldMkLst>
      </pc:sldChg>
      <pc:sldChg chg="add del">
        <pc:chgData name="Daniel Hens" userId="d245be30-eed3-4780-b032-3be0c65e8ee8" providerId="ADAL" clId="{C5175244-04CA-44B5-B06E-253F5367FE2D}" dt="2022-03-25T12:57:40.794" v="8" actId="47"/>
        <pc:sldMkLst>
          <pc:docMk/>
          <pc:sldMk cId="206669884" sldId="361"/>
        </pc:sldMkLst>
      </pc:sldChg>
      <pc:sldChg chg="add del">
        <pc:chgData name="Daniel Hens" userId="d245be30-eed3-4780-b032-3be0c65e8ee8" providerId="ADAL" clId="{C5175244-04CA-44B5-B06E-253F5367FE2D}" dt="2022-03-25T12:57:40.794" v="8" actId="47"/>
        <pc:sldMkLst>
          <pc:docMk/>
          <pc:sldMk cId="1326743884" sldId="362"/>
        </pc:sldMkLst>
      </pc:sldChg>
      <pc:sldChg chg="add del">
        <pc:chgData name="Daniel Hens" userId="d245be30-eed3-4780-b032-3be0c65e8ee8" providerId="ADAL" clId="{C5175244-04CA-44B5-B06E-253F5367FE2D}" dt="2022-03-25T12:57:40.794" v="8" actId="47"/>
        <pc:sldMkLst>
          <pc:docMk/>
          <pc:sldMk cId="19210300" sldId="363"/>
        </pc:sldMkLst>
      </pc:sldChg>
      <pc:sldChg chg="addSp delSp modSp mod">
        <pc:chgData name="Daniel Hens" userId="d245be30-eed3-4780-b032-3be0c65e8ee8" providerId="ADAL" clId="{C5175244-04CA-44B5-B06E-253F5367FE2D}" dt="2022-03-25T12:57:40.363" v="6" actId="478"/>
        <pc:sldMkLst>
          <pc:docMk/>
          <pc:sldMk cId="33598816" sldId="364"/>
        </pc:sldMkLst>
        <pc:spChg chg="add del mod">
          <ac:chgData name="Daniel Hens" userId="d245be30-eed3-4780-b032-3be0c65e8ee8" providerId="ADAL" clId="{C5175244-04CA-44B5-B06E-253F5367FE2D}" dt="2022-03-25T12:57:40.363" v="6" actId="478"/>
          <ac:spMkLst>
            <pc:docMk/>
            <pc:sldMk cId="33598816" sldId="364"/>
            <ac:spMk id="5" creationId="{80DE910B-62B7-4C55-9E1C-99FC4912B38C}"/>
          </ac:spMkLst>
        </pc:spChg>
        <pc:spChg chg="add del">
          <ac:chgData name="Daniel Hens" userId="d245be30-eed3-4780-b032-3be0c65e8ee8" providerId="ADAL" clId="{C5175244-04CA-44B5-B06E-253F5367FE2D}" dt="2022-03-25T12:57:40.363" v="6" actId="478"/>
          <ac:spMkLst>
            <pc:docMk/>
            <pc:sldMk cId="33598816" sldId="364"/>
            <ac:spMk id="10" creationId="{560D351C-B0BC-4A96-A22E-DB4BEB931C3E}"/>
          </ac:spMkLst>
        </pc:spChg>
      </pc:sldChg>
      <pc:sldChg chg="add del">
        <pc:chgData name="Daniel Hens" userId="d245be30-eed3-4780-b032-3be0c65e8ee8" providerId="ADAL" clId="{C5175244-04CA-44B5-B06E-253F5367FE2D}" dt="2022-03-25T12:57:40.794" v="8" actId="47"/>
        <pc:sldMkLst>
          <pc:docMk/>
          <pc:sldMk cId="1592159595" sldId="365"/>
        </pc:sldMkLst>
      </pc:sldChg>
      <pc:sldChg chg="add del">
        <pc:chgData name="Daniel Hens" userId="d245be30-eed3-4780-b032-3be0c65e8ee8" providerId="ADAL" clId="{C5175244-04CA-44B5-B06E-253F5367FE2D}" dt="2022-03-25T12:57:40.794" v="8" actId="47"/>
        <pc:sldMkLst>
          <pc:docMk/>
          <pc:sldMk cId="3940856595" sldId="366"/>
        </pc:sldMkLst>
      </pc:sldChg>
      <pc:sldChg chg="add del">
        <pc:chgData name="Daniel Hens" userId="d245be30-eed3-4780-b032-3be0c65e8ee8" providerId="ADAL" clId="{C5175244-04CA-44B5-B06E-253F5367FE2D}" dt="2022-03-25T12:57:40.794" v="8" actId="47"/>
        <pc:sldMkLst>
          <pc:docMk/>
          <pc:sldMk cId="1014320215" sldId="367"/>
        </pc:sldMkLst>
      </pc:sldChg>
      <pc:sldChg chg="add del">
        <pc:chgData name="Daniel Hens" userId="d245be30-eed3-4780-b032-3be0c65e8ee8" providerId="ADAL" clId="{C5175244-04CA-44B5-B06E-253F5367FE2D}" dt="2022-03-25T12:57:40.794" v="8" actId="47"/>
        <pc:sldMkLst>
          <pc:docMk/>
          <pc:sldMk cId="874914692" sldId="368"/>
        </pc:sldMkLst>
      </pc:sldChg>
      <pc:sldChg chg="add del">
        <pc:chgData name="Daniel Hens" userId="d245be30-eed3-4780-b032-3be0c65e8ee8" providerId="ADAL" clId="{C5175244-04CA-44B5-B06E-253F5367FE2D}" dt="2022-03-25T12:57:40.794" v="8" actId="47"/>
        <pc:sldMkLst>
          <pc:docMk/>
          <pc:sldMk cId="2223883424" sldId="369"/>
        </pc:sldMkLst>
      </pc:sldChg>
      <pc:sldChg chg="add del">
        <pc:chgData name="Daniel Hens" userId="d245be30-eed3-4780-b032-3be0c65e8ee8" providerId="ADAL" clId="{C5175244-04CA-44B5-B06E-253F5367FE2D}" dt="2022-03-25T12:57:40.794" v="8" actId="47"/>
        <pc:sldMkLst>
          <pc:docMk/>
          <pc:sldMk cId="2086820258" sldId="372"/>
        </pc:sldMkLst>
      </pc:sldChg>
      <pc:sldChg chg="add del">
        <pc:chgData name="Daniel Hens" userId="d245be30-eed3-4780-b032-3be0c65e8ee8" providerId="ADAL" clId="{C5175244-04CA-44B5-B06E-253F5367FE2D}" dt="2022-03-25T12:57:40.794" v="8" actId="47"/>
        <pc:sldMkLst>
          <pc:docMk/>
          <pc:sldMk cId="1758373318" sldId="373"/>
        </pc:sldMkLst>
      </pc:sldChg>
      <pc:sldChg chg="add del">
        <pc:chgData name="Daniel Hens" userId="d245be30-eed3-4780-b032-3be0c65e8ee8" providerId="ADAL" clId="{C5175244-04CA-44B5-B06E-253F5367FE2D}" dt="2022-03-25T12:57:40.794" v="8" actId="47"/>
        <pc:sldMkLst>
          <pc:docMk/>
          <pc:sldMk cId="3392096116" sldId="374"/>
        </pc:sldMkLst>
      </pc:sldChg>
      <pc:sldChg chg="add del">
        <pc:chgData name="Daniel Hens" userId="d245be30-eed3-4780-b032-3be0c65e8ee8" providerId="ADAL" clId="{C5175244-04CA-44B5-B06E-253F5367FE2D}" dt="2022-03-25T12:57:40.794" v="8" actId="47"/>
        <pc:sldMkLst>
          <pc:docMk/>
          <pc:sldMk cId="3615068782" sldId="375"/>
        </pc:sldMkLst>
      </pc:sldChg>
      <pc:sldChg chg="add del">
        <pc:chgData name="Daniel Hens" userId="d245be30-eed3-4780-b032-3be0c65e8ee8" providerId="ADAL" clId="{C5175244-04CA-44B5-B06E-253F5367FE2D}" dt="2022-03-25T12:57:40.794" v="8" actId="47"/>
        <pc:sldMkLst>
          <pc:docMk/>
          <pc:sldMk cId="3852887038" sldId="376"/>
        </pc:sldMkLst>
      </pc:sldChg>
      <pc:sldChg chg="add del">
        <pc:chgData name="Daniel Hens" userId="d245be30-eed3-4780-b032-3be0c65e8ee8" providerId="ADAL" clId="{C5175244-04CA-44B5-B06E-253F5367FE2D}" dt="2022-03-25T12:57:41.106" v="9" actId="47"/>
        <pc:sldMkLst>
          <pc:docMk/>
          <pc:sldMk cId="2497184076" sldId="378"/>
        </pc:sldMkLst>
      </pc:sldChg>
      <pc:sldChg chg="add del">
        <pc:chgData name="Daniel Hens" userId="d245be30-eed3-4780-b032-3be0c65e8ee8" providerId="ADAL" clId="{C5175244-04CA-44B5-B06E-253F5367FE2D}" dt="2022-03-25T12:57:41.106" v="9" actId="47"/>
        <pc:sldMkLst>
          <pc:docMk/>
          <pc:sldMk cId="941330492" sldId="379"/>
        </pc:sldMkLst>
      </pc:sldChg>
      <pc:sldChg chg="add del">
        <pc:chgData name="Daniel Hens" userId="d245be30-eed3-4780-b032-3be0c65e8ee8" providerId="ADAL" clId="{C5175244-04CA-44B5-B06E-253F5367FE2D}" dt="2022-03-25T12:57:41.106" v="9" actId="47"/>
        <pc:sldMkLst>
          <pc:docMk/>
          <pc:sldMk cId="216177301" sldId="380"/>
        </pc:sldMkLst>
      </pc:sldChg>
      <pc:sldChg chg="add del">
        <pc:chgData name="Daniel Hens" userId="d245be30-eed3-4780-b032-3be0c65e8ee8" providerId="ADAL" clId="{C5175244-04CA-44B5-B06E-253F5367FE2D}" dt="2022-03-25T12:57:40.794" v="8" actId="47"/>
        <pc:sldMkLst>
          <pc:docMk/>
          <pc:sldMk cId="2169851743" sldId="382"/>
        </pc:sldMkLst>
      </pc:sldChg>
      <pc:sldChg chg="add del">
        <pc:chgData name="Daniel Hens" userId="d245be30-eed3-4780-b032-3be0c65e8ee8" providerId="ADAL" clId="{C5175244-04CA-44B5-B06E-253F5367FE2D}" dt="2022-03-25T12:57:41.106" v="9" actId="47"/>
        <pc:sldMkLst>
          <pc:docMk/>
          <pc:sldMk cId="1045533942" sldId="384"/>
        </pc:sldMkLst>
      </pc:sldChg>
      <pc:sldChg chg="add del">
        <pc:chgData name="Daniel Hens" userId="d245be30-eed3-4780-b032-3be0c65e8ee8" providerId="ADAL" clId="{C5175244-04CA-44B5-B06E-253F5367FE2D}" dt="2022-03-25T12:57:41.106" v="9" actId="47"/>
        <pc:sldMkLst>
          <pc:docMk/>
          <pc:sldMk cId="1769863677" sldId="385"/>
        </pc:sldMkLst>
      </pc:sldChg>
      <pc:sldChg chg="add del">
        <pc:chgData name="Daniel Hens" userId="d245be30-eed3-4780-b032-3be0c65e8ee8" providerId="ADAL" clId="{C5175244-04CA-44B5-B06E-253F5367FE2D}" dt="2022-03-25T12:57:40.794" v="8" actId="47"/>
        <pc:sldMkLst>
          <pc:docMk/>
          <pc:sldMk cId="904502109" sldId="386"/>
        </pc:sldMkLst>
      </pc:sldChg>
      <pc:sldChg chg="add del">
        <pc:chgData name="Daniel Hens" userId="d245be30-eed3-4780-b032-3be0c65e8ee8" providerId="ADAL" clId="{C5175244-04CA-44B5-B06E-253F5367FE2D}" dt="2022-03-25T12:57:40.794" v="8" actId="47"/>
        <pc:sldMkLst>
          <pc:docMk/>
          <pc:sldMk cId="1181553170" sldId="387"/>
        </pc:sldMkLst>
      </pc:sldChg>
      <pc:sldChg chg="add del">
        <pc:chgData name="Daniel Hens" userId="d245be30-eed3-4780-b032-3be0c65e8ee8" providerId="ADAL" clId="{C5175244-04CA-44B5-B06E-253F5367FE2D}" dt="2022-03-25T12:57:40.794" v="8" actId="47"/>
        <pc:sldMkLst>
          <pc:docMk/>
          <pc:sldMk cId="2311678989" sldId="388"/>
        </pc:sldMkLst>
      </pc:sldChg>
      <pc:sldChg chg="add del">
        <pc:chgData name="Daniel Hens" userId="d245be30-eed3-4780-b032-3be0c65e8ee8" providerId="ADAL" clId="{C5175244-04CA-44B5-B06E-253F5367FE2D}" dt="2022-03-25T12:57:40.794" v="8" actId="47"/>
        <pc:sldMkLst>
          <pc:docMk/>
          <pc:sldMk cId="1686671835" sldId="389"/>
        </pc:sldMkLst>
      </pc:sldChg>
      <pc:sldChg chg="add del">
        <pc:chgData name="Daniel Hens" userId="d245be30-eed3-4780-b032-3be0c65e8ee8" providerId="ADAL" clId="{C5175244-04CA-44B5-B06E-253F5367FE2D}" dt="2022-03-25T12:57:40.794" v="8" actId="47"/>
        <pc:sldMkLst>
          <pc:docMk/>
          <pc:sldMk cId="590577401" sldId="391"/>
        </pc:sldMkLst>
      </pc:sldChg>
      <pc:sldChg chg="add del">
        <pc:chgData name="Daniel Hens" userId="d245be30-eed3-4780-b032-3be0c65e8ee8" providerId="ADAL" clId="{C5175244-04CA-44B5-B06E-253F5367FE2D}" dt="2022-03-25T12:57:40.794" v="8" actId="47"/>
        <pc:sldMkLst>
          <pc:docMk/>
          <pc:sldMk cId="2824741347" sldId="422"/>
        </pc:sldMkLst>
      </pc:sldChg>
      <pc:sldChg chg="add del">
        <pc:chgData name="Daniel Hens" userId="d245be30-eed3-4780-b032-3be0c65e8ee8" providerId="ADAL" clId="{C5175244-04CA-44B5-B06E-253F5367FE2D}" dt="2022-03-25T12:57:40.794" v="8" actId="47"/>
        <pc:sldMkLst>
          <pc:docMk/>
          <pc:sldMk cId="737801744" sldId="42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4C892B93-AFBB-476D-B9C2-77789C615A3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C9C7441-E9C1-4BB5-B78E-255365725D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437222-9D39-4E54-B21C-C7D845DDACF8}" type="datetimeFigureOut">
              <a:rPr lang="de-DE" smtClean="0"/>
              <a:t>11.06.23</a:t>
            </a:fld>
            <a:endParaRPr lang="de-DE"/>
          </a:p>
        </p:txBody>
      </p:sp>
      <p:sp>
        <p:nvSpPr>
          <p:cNvPr id="4" name="Fußzeilenplatzhalter 3">
            <a:extLst>
              <a:ext uri="{FF2B5EF4-FFF2-40B4-BE49-F238E27FC236}">
                <a16:creationId xmlns:a16="http://schemas.microsoft.com/office/drawing/2014/main" id="{1CA7648F-5867-4553-94E5-C795E073C8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B144397-9448-4129-A006-24D512AA19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A64263-1DEB-40BC-AFDD-B419E9331C7B}" type="slidenum">
              <a:rPr lang="de-DE" smtClean="0"/>
              <a:t>‹#›</a:t>
            </a:fld>
            <a:endParaRPr lang="de-DE"/>
          </a:p>
        </p:txBody>
      </p:sp>
    </p:spTree>
    <p:extLst>
      <p:ext uri="{BB962C8B-B14F-4D97-AF65-F5344CB8AC3E}">
        <p14:creationId xmlns:p14="http://schemas.microsoft.com/office/powerpoint/2010/main" val="1230036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660404-EB44-46E0-A99C-B3FB510EE02D}" type="datetimeFigureOut">
              <a:rPr lang="de-DE" smtClean="0"/>
              <a:t>11.06.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8FE370-A48C-4559-8DC8-9B0AF4A2C526}" type="slidenum">
              <a:rPr lang="de-DE" smtClean="0"/>
              <a:t>‹#›</a:t>
            </a:fld>
            <a:endParaRPr lang="de-DE"/>
          </a:p>
        </p:txBody>
      </p:sp>
    </p:spTree>
    <p:extLst>
      <p:ext uri="{BB962C8B-B14F-4D97-AF65-F5344CB8AC3E}">
        <p14:creationId xmlns:p14="http://schemas.microsoft.com/office/powerpoint/2010/main" val="304140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B98FE370-A48C-4559-8DC8-9B0AF4A2C526}" type="slidenum">
              <a:rPr lang="de-DE" smtClean="0"/>
              <a:t>1</a:t>
            </a:fld>
            <a:endParaRPr lang="de-DE"/>
          </a:p>
        </p:txBody>
      </p:sp>
    </p:spTree>
    <p:extLst>
      <p:ext uri="{BB962C8B-B14F-4D97-AF65-F5344CB8AC3E}">
        <p14:creationId xmlns:p14="http://schemas.microsoft.com/office/powerpoint/2010/main" val="2977159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Titel_zweizeilig_Option">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346EF30F-5F5D-428E-A5D2-04069DB87655}"/>
              </a:ext>
            </a:extLst>
          </p:cNvPr>
          <p:cNvSpPr>
            <a:spLocks noGrp="1"/>
          </p:cNvSpPr>
          <p:nvPr>
            <p:ph type="pic" sz="quarter" idx="12" hasCustomPrompt="1"/>
          </p:nvPr>
        </p:nvSpPr>
        <p:spPr>
          <a:xfrm>
            <a:off x="5334001" y="1"/>
            <a:ext cx="6858001" cy="6857999"/>
          </a:xfrm>
          <a:custGeom>
            <a:avLst/>
            <a:gdLst>
              <a:gd name="connsiteX0" fmla="*/ 4589999 w 6858001"/>
              <a:gd name="connsiteY0" fmla="*/ 4590000 h 6857999"/>
              <a:gd name="connsiteX1" fmla="*/ 6858001 w 6858001"/>
              <a:gd name="connsiteY1" fmla="*/ 4590000 h 6857999"/>
              <a:gd name="connsiteX2" fmla="*/ 6858001 w 6858001"/>
              <a:gd name="connsiteY2" fmla="*/ 6857999 h 6857999"/>
              <a:gd name="connsiteX3" fmla="*/ 4589999 w 6858001"/>
              <a:gd name="connsiteY3" fmla="*/ 6857999 h 6857999"/>
              <a:gd name="connsiteX4" fmla="*/ 2303999 w 6858001"/>
              <a:gd name="connsiteY4" fmla="*/ 4590000 h 6857999"/>
              <a:gd name="connsiteX5" fmla="*/ 4553999 w 6858001"/>
              <a:gd name="connsiteY5" fmla="*/ 4590000 h 6857999"/>
              <a:gd name="connsiteX6" fmla="*/ 4553999 w 6858001"/>
              <a:gd name="connsiteY6" fmla="*/ 6857999 h 6857999"/>
              <a:gd name="connsiteX7" fmla="*/ 2303999 w 6858001"/>
              <a:gd name="connsiteY7" fmla="*/ 6857999 h 6857999"/>
              <a:gd name="connsiteX8" fmla="*/ 4589999 w 6858001"/>
              <a:gd name="connsiteY8" fmla="*/ 2303999 h 6857999"/>
              <a:gd name="connsiteX9" fmla="*/ 6858001 w 6858001"/>
              <a:gd name="connsiteY9" fmla="*/ 2303999 h 6857999"/>
              <a:gd name="connsiteX10" fmla="*/ 6858001 w 6858001"/>
              <a:gd name="connsiteY10" fmla="*/ 4554000 h 6857999"/>
              <a:gd name="connsiteX11" fmla="*/ 4589999 w 6858001"/>
              <a:gd name="connsiteY11" fmla="*/ 4554000 h 6857999"/>
              <a:gd name="connsiteX12" fmla="*/ 2303999 w 6858001"/>
              <a:gd name="connsiteY12" fmla="*/ 2303999 h 6857999"/>
              <a:gd name="connsiteX13" fmla="*/ 4553999 w 6858001"/>
              <a:gd name="connsiteY13" fmla="*/ 2303999 h 6857999"/>
              <a:gd name="connsiteX14" fmla="*/ 4553999 w 6858001"/>
              <a:gd name="connsiteY14" fmla="*/ 4554000 h 6857999"/>
              <a:gd name="connsiteX15" fmla="*/ 2303999 w 6858001"/>
              <a:gd name="connsiteY15" fmla="*/ 4554000 h 6857999"/>
              <a:gd name="connsiteX16" fmla="*/ 0 w 6858001"/>
              <a:gd name="connsiteY16" fmla="*/ 2303999 h 6857999"/>
              <a:gd name="connsiteX17" fmla="*/ 2267999 w 6858001"/>
              <a:gd name="connsiteY17" fmla="*/ 2303999 h 6857999"/>
              <a:gd name="connsiteX18" fmla="*/ 2267999 w 6858001"/>
              <a:gd name="connsiteY18" fmla="*/ 4554000 h 6857999"/>
              <a:gd name="connsiteX19" fmla="*/ 0 w 6858001"/>
              <a:gd name="connsiteY19" fmla="*/ 4554000 h 6857999"/>
              <a:gd name="connsiteX20" fmla="*/ 2303999 w 6858001"/>
              <a:gd name="connsiteY20" fmla="*/ 0 h 6857999"/>
              <a:gd name="connsiteX21" fmla="*/ 4553999 w 6858001"/>
              <a:gd name="connsiteY21" fmla="*/ 0 h 6857999"/>
              <a:gd name="connsiteX22" fmla="*/ 4553999 w 6858001"/>
              <a:gd name="connsiteY22" fmla="*/ 2267999 h 6857999"/>
              <a:gd name="connsiteX23" fmla="*/ 2303999 w 6858001"/>
              <a:gd name="connsiteY23" fmla="*/ 226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1" h="6857999">
                <a:moveTo>
                  <a:pt x="4589999" y="4590000"/>
                </a:moveTo>
                <a:lnTo>
                  <a:pt x="6858001" y="4590000"/>
                </a:lnTo>
                <a:lnTo>
                  <a:pt x="6858001" y="6857999"/>
                </a:lnTo>
                <a:lnTo>
                  <a:pt x="4589999" y="6857999"/>
                </a:lnTo>
                <a:close/>
                <a:moveTo>
                  <a:pt x="2303999" y="4590000"/>
                </a:moveTo>
                <a:lnTo>
                  <a:pt x="4553999" y="4590000"/>
                </a:lnTo>
                <a:lnTo>
                  <a:pt x="4553999" y="6857999"/>
                </a:lnTo>
                <a:lnTo>
                  <a:pt x="2303999" y="6857999"/>
                </a:lnTo>
                <a:close/>
                <a:moveTo>
                  <a:pt x="4589999" y="2303999"/>
                </a:moveTo>
                <a:lnTo>
                  <a:pt x="6858001" y="2303999"/>
                </a:lnTo>
                <a:lnTo>
                  <a:pt x="6858001" y="4554000"/>
                </a:lnTo>
                <a:lnTo>
                  <a:pt x="4589999" y="4554000"/>
                </a:lnTo>
                <a:close/>
                <a:moveTo>
                  <a:pt x="2303999" y="2303999"/>
                </a:moveTo>
                <a:lnTo>
                  <a:pt x="4553999" y="2303999"/>
                </a:lnTo>
                <a:lnTo>
                  <a:pt x="4553999" y="4554000"/>
                </a:lnTo>
                <a:lnTo>
                  <a:pt x="2303999" y="4554000"/>
                </a:lnTo>
                <a:close/>
                <a:moveTo>
                  <a:pt x="0" y="2303999"/>
                </a:moveTo>
                <a:lnTo>
                  <a:pt x="2267999" y="2303999"/>
                </a:lnTo>
                <a:lnTo>
                  <a:pt x="2267999" y="4554000"/>
                </a:lnTo>
                <a:lnTo>
                  <a:pt x="0" y="4554000"/>
                </a:lnTo>
                <a:close/>
                <a:moveTo>
                  <a:pt x="2303999" y="0"/>
                </a:moveTo>
                <a:lnTo>
                  <a:pt x="4553999" y="0"/>
                </a:lnTo>
                <a:lnTo>
                  <a:pt x="4553999" y="2267999"/>
                </a:lnTo>
                <a:lnTo>
                  <a:pt x="2303999" y="2267999"/>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21" name="Gerader Verbinder 20">
            <a:extLst>
              <a:ext uri="{FF2B5EF4-FFF2-40B4-BE49-F238E27FC236}">
                <a16:creationId xmlns:a16="http://schemas.microsoft.com/office/drawing/2014/main" id="{14A9E4E2-CA0F-4870-B2E7-7C70679F486C}"/>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B4399AFD-BBE0-480A-9ED7-3E2F2ABEA89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4" name="Gerader Verbinder 23">
            <a:extLst>
              <a:ext uri="{FF2B5EF4-FFF2-40B4-BE49-F238E27FC236}">
                <a16:creationId xmlns:a16="http://schemas.microsoft.com/office/drawing/2014/main" id="{1A766794-13BA-45E4-BBDF-4CC9505DBE0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77F88B12-7850-434E-BFD0-0CCC70021B2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34" name="Gerader Verbinder 33">
            <a:extLst>
              <a:ext uri="{FF2B5EF4-FFF2-40B4-BE49-F238E27FC236}">
                <a16:creationId xmlns:a16="http://schemas.microsoft.com/office/drawing/2014/main" id="{C2A35DBD-97A4-4732-92D6-2676E5A68792}"/>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20BE6FB-D992-45E5-96F2-2C84FE3B158E}"/>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6" name="Gerader Verbinder 35">
            <a:extLst>
              <a:ext uri="{FF2B5EF4-FFF2-40B4-BE49-F238E27FC236}">
                <a16:creationId xmlns:a16="http://schemas.microsoft.com/office/drawing/2014/main" id="{1A31E35C-7422-4D6A-810C-301A3B1A7748}"/>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67D70898-B880-4AE6-83ED-D0CC40704BA4}"/>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40" name="Gerader Verbinder 39">
            <a:extLst>
              <a:ext uri="{FF2B5EF4-FFF2-40B4-BE49-F238E27FC236}">
                <a16:creationId xmlns:a16="http://schemas.microsoft.com/office/drawing/2014/main" id="{CEC74435-B45D-4FCA-87E9-E03A4856E8E5}"/>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EFB9EFE6-BB99-41BB-AC54-7E37682905E3}"/>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2" name="Gerader Verbinder 41">
            <a:extLst>
              <a:ext uri="{FF2B5EF4-FFF2-40B4-BE49-F238E27FC236}">
                <a16:creationId xmlns:a16="http://schemas.microsoft.com/office/drawing/2014/main" id="{454778B9-22DC-4B47-8AC3-207CED9EC9E1}"/>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09CC9732-7F67-4CB6-B6D9-BFC31B863AC6}"/>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4" name="Gerader Verbinder 43">
            <a:extLst>
              <a:ext uri="{FF2B5EF4-FFF2-40B4-BE49-F238E27FC236}">
                <a16:creationId xmlns:a16="http://schemas.microsoft.com/office/drawing/2014/main" id="{387359FB-EE38-4A0F-8C1B-3DFADCF54E7D}"/>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D97B0317-71FF-43A7-BF92-E2D9997B888B}"/>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8" name="Titel 1">
            <a:extLst>
              <a:ext uri="{FF2B5EF4-FFF2-40B4-BE49-F238E27FC236}">
                <a16:creationId xmlns:a16="http://schemas.microsoft.com/office/drawing/2014/main" id="{682FC982-4812-4EA5-96E2-E7F33A843099}"/>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
        <p:nvSpPr>
          <p:cNvPr id="46" name="Untertitel 2">
            <a:extLst>
              <a:ext uri="{FF2B5EF4-FFF2-40B4-BE49-F238E27FC236}">
                <a16:creationId xmlns:a16="http://schemas.microsoft.com/office/drawing/2014/main" id="{85291E6A-106F-4D43-8ED4-0F0C20B6AAFF}"/>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Tree>
    <p:extLst>
      <p:ext uri="{BB962C8B-B14F-4D97-AF65-F5344CB8AC3E}">
        <p14:creationId xmlns:p14="http://schemas.microsoft.com/office/powerpoint/2010/main" val="2818616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e Folie zur freien Gestaltun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939117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
        <p:nvSpPr>
          <p:cNvPr id="4" name="Untertitel 2">
            <a:extLst>
              <a:ext uri="{FF2B5EF4-FFF2-40B4-BE49-F238E27FC236}">
                <a16:creationId xmlns:a16="http://schemas.microsoft.com/office/drawing/2014/main" id="{81DB54E6-2720-D8D3-EADF-F9E59A132A54}"/>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
        <p:nvSpPr>
          <p:cNvPr id="5" name="TextBox 4">
            <a:extLst>
              <a:ext uri="{FF2B5EF4-FFF2-40B4-BE49-F238E27FC236}">
                <a16:creationId xmlns:a16="http://schemas.microsoft.com/office/drawing/2014/main" id="{E545F572-E392-4586-506B-B98529760280}"/>
              </a:ext>
            </a:extLst>
          </p:cNvPr>
          <p:cNvSpPr txBox="1"/>
          <p:nvPr userDrawn="1"/>
        </p:nvSpPr>
        <p:spPr>
          <a:xfrm>
            <a:off x="8001000" y="2484783"/>
            <a:ext cx="0" cy="0"/>
          </a:xfrm>
          <a:prstGeom prst="rect">
            <a:avLst/>
          </a:prstGeom>
          <a:noFill/>
        </p:spPr>
        <p:txBody>
          <a:bodyPr wrap="none" lIns="0" tIns="0" rIns="0" bIns="0" rtlCol="0">
            <a:noAutofit/>
          </a:bodyPr>
          <a:lstStyle/>
          <a:p>
            <a:pPr algn="l"/>
            <a:endParaRPr lang="en-DE" sz="1200" dirty="0" err="1"/>
          </a:p>
        </p:txBody>
      </p:sp>
      <p:sp>
        <p:nvSpPr>
          <p:cNvPr id="31" name="Bildplatzhalter 4">
            <a:extLst>
              <a:ext uri="{FF2B5EF4-FFF2-40B4-BE49-F238E27FC236}">
                <a16:creationId xmlns:a16="http://schemas.microsoft.com/office/drawing/2014/main" id="{A48DF3E8-1276-399B-9F74-3757B61F4956}"/>
              </a:ext>
            </a:extLst>
          </p:cNvPr>
          <p:cNvSpPr>
            <a:spLocks noGrp="1"/>
          </p:cNvSpPr>
          <p:nvPr>
            <p:ph type="pic" sz="quarter" idx="22" hasCustomPrompt="1"/>
          </p:nvPr>
        </p:nvSpPr>
        <p:spPr>
          <a:xfrm>
            <a:off x="6274636" y="1414800"/>
            <a:ext cx="5917364" cy="4413600"/>
          </a:xfrm>
          <a:solidFill>
            <a:schemeClr val="accent6"/>
          </a:solidFill>
        </p:spPr>
        <p:txBody>
          <a:bodyPr/>
          <a:lstStyle>
            <a:lvl1pPr marL="0" indent="0">
              <a:buNone/>
              <a:defRPr/>
            </a:lvl1pPr>
          </a:lstStyle>
          <a:p>
            <a:r>
              <a:rPr lang="de-DE" dirty="0"/>
              <a:t> </a:t>
            </a:r>
          </a:p>
        </p:txBody>
      </p:sp>
      <p:sp>
        <p:nvSpPr>
          <p:cNvPr id="6" name="Titel 1">
            <a:extLst>
              <a:ext uri="{FF2B5EF4-FFF2-40B4-BE49-F238E27FC236}">
                <a16:creationId xmlns:a16="http://schemas.microsoft.com/office/drawing/2014/main" id="{7E9FC6FD-4E8F-79CE-1BC3-254B02A439A1}"/>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Tree>
    <p:extLst>
      <p:ext uri="{BB962C8B-B14F-4D97-AF65-F5344CB8AC3E}">
        <p14:creationId xmlns:p14="http://schemas.microsoft.com/office/powerpoint/2010/main" val="394303925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solidFill>
                  <a:schemeClr val="tx1"/>
                </a:solidFill>
              </a:defRPr>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solidFill>
                  <a:schemeClr val="tx1"/>
                </a:solidFill>
              </a:defRPr>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1339437"/>
            <a:ext cx="11088000" cy="4754428"/>
          </a:xfrm>
        </p:spPr>
        <p:txBody>
          <a:bodyPr anchor="t"/>
          <a:lstStyle>
            <a:lvl1pPr marL="0" indent="0">
              <a:buFont typeface="Arial" panose="020B0604020202020204" pitchFamily="34" charset="0"/>
              <a:buNone/>
              <a:defRPr sz="1200" b="0"/>
            </a:lvl1pPr>
          </a:lstStyle>
          <a:p>
            <a:pPr lvl="0"/>
            <a:r>
              <a:rPr lang="de-DE" dirty="0"/>
              <a:t>Quellenangabe: optional</a:t>
            </a:r>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Tree>
    <p:extLst>
      <p:ext uri="{BB962C8B-B14F-4D97-AF65-F5344CB8AC3E}">
        <p14:creationId xmlns:p14="http://schemas.microsoft.com/office/powerpoint/2010/main" val="266134231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F609D-1315-4F88-97E0-1A58FC0B3B3B}"/>
              </a:ext>
            </a:extLst>
          </p:cNvPr>
          <p:cNvSpPr>
            <a:spLocks noGrp="1"/>
          </p:cNvSpPr>
          <p:nvPr>
            <p:ph type="title" hasCustomPrompt="1"/>
          </p:nvPr>
        </p:nvSpPr>
        <p:spPr>
          <a:xfrm>
            <a:off x="550861" y="3994217"/>
            <a:ext cx="6831011" cy="1368421"/>
          </a:xfrm>
        </p:spPr>
        <p:txBody>
          <a:bodyPr bIns="72000" anchor="t">
            <a:noAutofit/>
          </a:bodyPr>
          <a:lstStyle>
            <a:lvl1pPr>
              <a:defRPr sz="3600" b="0">
                <a:latin typeface="+mn-lt"/>
              </a:defRPr>
            </a:lvl1pPr>
          </a:lstStyle>
          <a:p>
            <a:r>
              <a:rPr lang="de-DE" dirty="0"/>
              <a:t>Vielen Dank für Ihre</a:t>
            </a:r>
            <a:br>
              <a:rPr lang="de-DE" dirty="0"/>
            </a:br>
            <a:r>
              <a:rPr lang="de-DE" dirty="0"/>
              <a:t>Aufmerksamkeit!</a:t>
            </a:r>
          </a:p>
        </p:txBody>
      </p:sp>
      <p:sp>
        <p:nvSpPr>
          <p:cNvPr id="68" name="Bildplatzhalter 67">
            <a:extLst>
              <a:ext uri="{FF2B5EF4-FFF2-40B4-BE49-F238E27FC236}">
                <a16:creationId xmlns:a16="http://schemas.microsoft.com/office/drawing/2014/main" id="{C3744A4F-7E89-4E26-B1EA-9B546D4E514B}"/>
              </a:ext>
            </a:extLst>
          </p:cNvPr>
          <p:cNvSpPr>
            <a:spLocks noGrp="1"/>
          </p:cNvSpPr>
          <p:nvPr>
            <p:ph type="pic" sz="quarter" idx="12" hasCustomPrompt="1"/>
          </p:nvPr>
        </p:nvSpPr>
        <p:spPr>
          <a:xfrm>
            <a:off x="5352001" y="3"/>
            <a:ext cx="6840001" cy="6857999"/>
          </a:xfrm>
          <a:custGeom>
            <a:avLst/>
            <a:gdLst>
              <a:gd name="connsiteX0" fmla="*/ 4579115 w 6840001"/>
              <a:gd name="connsiteY0" fmla="*/ 4589998 h 6857999"/>
              <a:gd name="connsiteX1" fmla="*/ 6840001 w 6840001"/>
              <a:gd name="connsiteY1" fmla="*/ 4589998 h 6857999"/>
              <a:gd name="connsiteX2" fmla="*/ 6840001 w 6840001"/>
              <a:gd name="connsiteY2" fmla="*/ 6857999 h 6857999"/>
              <a:gd name="connsiteX3" fmla="*/ 4579115 w 6840001"/>
              <a:gd name="connsiteY3" fmla="*/ 6857999 h 6857999"/>
              <a:gd name="connsiteX4" fmla="*/ 4572000 w 6840001"/>
              <a:gd name="connsiteY4" fmla="*/ 2303997 h 6857999"/>
              <a:gd name="connsiteX5" fmla="*/ 6840001 w 6840001"/>
              <a:gd name="connsiteY5" fmla="*/ 2303997 h 6857999"/>
              <a:gd name="connsiteX6" fmla="*/ 6840001 w 6840001"/>
              <a:gd name="connsiteY6" fmla="*/ 4553998 h 6857999"/>
              <a:gd name="connsiteX7" fmla="*/ 4572000 w 6840001"/>
              <a:gd name="connsiteY7" fmla="*/ 4553998 h 6857999"/>
              <a:gd name="connsiteX8" fmla="*/ 2286000 w 6840001"/>
              <a:gd name="connsiteY8" fmla="*/ 2303997 h 6857999"/>
              <a:gd name="connsiteX9" fmla="*/ 4536000 w 6840001"/>
              <a:gd name="connsiteY9" fmla="*/ 2303997 h 6857999"/>
              <a:gd name="connsiteX10" fmla="*/ 4536000 w 6840001"/>
              <a:gd name="connsiteY10" fmla="*/ 4553998 h 6857999"/>
              <a:gd name="connsiteX11" fmla="*/ 2286000 w 6840001"/>
              <a:gd name="connsiteY11" fmla="*/ 4553998 h 6857999"/>
              <a:gd name="connsiteX12" fmla="*/ 4572000 w 6840001"/>
              <a:gd name="connsiteY12" fmla="*/ 0 h 6857999"/>
              <a:gd name="connsiteX13" fmla="*/ 6840001 w 6840001"/>
              <a:gd name="connsiteY13" fmla="*/ 0 h 6857999"/>
              <a:gd name="connsiteX14" fmla="*/ 6840001 w 6840001"/>
              <a:gd name="connsiteY14" fmla="*/ 2267997 h 6857999"/>
              <a:gd name="connsiteX15" fmla="*/ 4572000 w 6840001"/>
              <a:gd name="connsiteY15" fmla="*/ 2267997 h 6857999"/>
              <a:gd name="connsiteX16" fmla="*/ 0 w 6840001"/>
              <a:gd name="connsiteY16" fmla="*/ 0 h 6857999"/>
              <a:gd name="connsiteX17" fmla="*/ 2249999 w 6840001"/>
              <a:gd name="connsiteY17" fmla="*/ 0 h 6857999"/>
              <a:gd name="connsiteX18" fmla="*/ 2249999 w 6840001"/>
              <a:gd name="connsiteY18" fmla="*/ 2267997 h 6857999"/>
              <a:gd name="connsiteX19" fmla="*/ 0 w 6840001"/>
              <a:gd name="connsiteY19" fmla="*/ 226799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40001" h="6857999">
                <a:moveTo>
                  <a:pt x="4579115" y="4589998"/>
                </a:moveTo>
                <a:lnTo>
                  <a:pt x="6840001" y="4589998"/>
                </a:lnTo>
                <a:lnTo>
                  <a:pt x="6840001" y="6857999"/>
                </a:lnTo>
                <a:lnTo>
                  <a:pt x="4579115" y="6857999"/>
                </a:lnTo>
                <a:close/>
                <a:moveTo>
                  <a:pt x="4572000" y="2303997"/>
                </a:moveTo>
                <a:lnTo>
                  <a:pt x="6840001" y="2303997"/>
                </a:lnTo>
                <a:lnTo>
                  <a:pt x="6840001" y="4553998"/>
                </a:lnTo>
                <a:lnTo>
                  <a:pt x="4572000" y="4553998"/>
                </a:lnTo>
                <a:close/>
                <a:moveTo>
                  <a:pt x="2286000" y="2303997"/>
                </a:moveTo>
                <a:lnTo>
                  <a:pt x="4536000" y="2303997"/>
                </a:lnTo>
                <a:lnTo>
                  <a:pt x="4536000" y="4553998"/>
                </a:lnTo>
                <a:lnTo>
                  <a:pt x="2286000" y="4553998"/>
                </a:lnTo>
                <a:close/>
                <a:moveTo>
                  <a:pt x="4572000" y="0"/>
                </a:moveTo>
                <a:lnTo>
                  <a:pt x="6840001" y="0"/>
                </a:lnTo>
                <a:lnTo>
                  <a:pt x="6840001" y="2267997"/>
                </a:lnTo>
                <a:lnTo>
                  <a:pt x="4572000" y="2267997"/>
                </a:lnTo>
                <a:close/>
                <a:moveTo>
                  <a:pt x="0" y="0"/>
                </a:moveTo>
                <a:lnTo>
                  <a:pt x="2249999" y="0"/>
                </a:lnTo>
                <a:lnTo>
                  <a:pt x="2249999" y="2267997"/>
                </a:lnTo>
                <a:lnTo>
                  <a:pt x="0" y="2267997"/>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19" name="Gerader Verbinder 18">
            <a:extLst>
              <a:ext uri="{FF2B5EF4-FFF2-40B4-BE49-F238E27FC236}">
                <a16:creationId xmlns:a16="http://schemas.microsoft.com/office/drawing/2014/main" id="{D7AB7DCE-F024-4134-A4E7-C2CA0D0FDD99}"/>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B1F09D9F-AA07-4466-885B-C0E7B551A44F}"/>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1" name="Gerader Verbinder 20">
            <a:extLst>
              <a:ext uri="{FF2B5EF4-FFF2-40B4-BE49-F238E27FC236}">
                <a16:creationId xmlns:a16="http://schemas.microsoft.com/office/drawing/2014/main" id="{4D43C9F0-4FAC-4C0E-A72F-9C78D1A7621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38A0D319-B287-4A74-829B-BACDBA6F564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4" name="Gerader Verbinder 23">
            <a:extLst>
              <a:ext uri="{FF2B5EF4-FFF2-40B4-BE49-F238E27FC236}">
                <a16:creationId xmlns:a16="http://schemas.microsoft.com/office/drawing/2014/main" id="{17E09EEF-7DD8-43A3-B47D-AA42524075D8}"/>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670AEAA7-CB87-425A-BF5B-C230322CB663}"/>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4" name="Gerader Verbinder 33">
            <a:extLst>
              <a:ext uri="{FF2B5EF4-FFF2-40B4-BE49-F238E27FC236}">
                <a16:creationId xmlns:a16="http://schemas.microsoft.com/office/drawing/2014/main" id="{FC6D2781-9937-4F53-B699-C69B945D96BF}"/>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A6AAD560-6E56-4B55-9220-98C08F59483A}"/>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36" name="Gerader Verbinder 35">
            <a:extLst>
              <a:ext uri="{FF2B5EF4-FFF2-40B4-BE49-F238E27FC236}">
                <a16:creationId xmlns:a16="http://schemas.microsoft.com/office/drawing/2014/main" id="{BADB4146-9189-4442-ADBD-ED90462FD13C}"/>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1A61ECA8-F4E3-4C68-B5C4-ADB00F5EC82C}"/>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0" name="Gerader Verbinder 39">
            <a:extLst>
              <a:ext uri="{FF2B5EF4-FFF2-40B4-BE49-F238E27FC236}">
                <a16:creationId xmlns:a16="http://schemas.microsoft.com/office/drawing/2014/main" id="{2684DBCB-1520-4ACF-821B-DFE58DF0A312}"/>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2AEE3D68-5553-4EBA-9A1B-6780000678D9}"/>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2" name="Gerader Verbinder 41">
            <a:extLst>
              <a:ext uri="{FF2B5EF4-FFF2-40B4-BE49-F238E27FC236}">
                <a16:creationId xmlns:a16="http://schemas.microsoft.com/office/drawing/2014/main" id="{AEA6BC66-8F2A-4C1F-881C-1A1EF8FF442B}"/>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CDEBB5A0-4A84-46E0-80F6-47ED855449AA}"/>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Tree>
    <p:extLst>
      <p:ext uri="{BB962C8B-B14F-4D97-AF65-F5344CB8AC3E}">
        <p14:creationId xmlns:p14="http://schemas.microsoft.com/office/powerpoint/2010/main" val="2357028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8" name="Textplatzhalter 3">
            <a:extLst>
              <a:ext uri="{FF2B5EF4-FFF2-40B4-BE49-F238E27FC236}">
                <a16:creationId xmlns:a16="http://schemas.microsoft.com/office/drawing/2014/main" id="{F968CA92-F438-422B-A7F0-2306FC17DF9D}"/>
              </a:ext>
            </a:extLst>
          </p:cNvPr>
          <p:cNvSpPr>
            <a:spLocks noGrp="1"/>
          </p:cNvSpPr>
          <p:nvPr>
            <p:ph type="body" sz="quarter" idx="18" hasCustomPrompt="1"/>
          </p:nvPr>
        </p:nvSpPr>
        <p:spPr>
          <a:xfrm>
            <a:off x="5508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9" name="Textplatzhalter 3">
            <a:extLst>
              <a:ext uri="{FF2B5EF4-FFF2-40B4-BE49-F238E27FC236}">
                <a16:creationId xmlns:a16="http://schemas.microsoft.com/office/drawing/2014/main" id="{2C83F6BF-B298-4CB6-B876-3603941D70CF}"/>
              </a:ext>
            </a:extLst>
          </p:cNvPr>
          <p:cNvSpPr>
            <a:spLocks noGrp="1"/>
          </p:cNvSpPr>
          <p:nvPr>
            <p:ph type="body" sz="quarter" idx="19" hasCustomPrompt="1"/>
          </p:nvPr>
        </p:nvSpPr>
        <p:spPr>
          <a:xfrm>
            <a:off x="5508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a:t>
            </a:r>
          </a:p>
        </p:txBody>
      </p:sp>
      <p:sp>
        <p:nvSpPr>
          <p:cNvPr id="70" name="Textplatzhalter 3">
            <a:extLst>
              <a:ext uri="{FF2B5EF4-FFF2-40B4-BE49-F238E27FC236}">
                <a16:creationId xmlns:a16="http://schemas.microsoft.com/office/drawing/2014/main" id="{38C9353C-8C80-46EA-A939-527E7FCB8354}"/>
              </a:ext>
            </a:extLst>
          </p:cNvPr>
          <p:cNvSpPr>
            <a:spLocks noGrp="1"/>
          </p:cNvSpPr>
          <p:nvPr>
            <p:ph type="body" sz="quarter" idx="20" hasCustomPrompt="1"/>
          </p:nvPr>
        </p:nvSpPr>
        <p:spPr>
          <a:xfrm>
            <a:off x="547721"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5" name="Textplatzhalter 3">
            <a:extLst>
              <a:ext uri="{FF2B5EF4-FFF2-40B4-BE49-F238E27FC236}">
                <a16:creationId xmlns:a16="http://schemas.microsoft.com/office/drawing/2014/main" id="{A5C59F96-456B-41F4-881E-0A7757EE05C2}"/>
              </a:ext>
            </a:extLst>
          </p:cNvPr>
          <p:cNvSpPr>
            <a:spLocks noGrp="1"/>
          </p:cNvSpPr>
          <p:nvPr>
            <p:ph type="body" sz="quarter" idx="54" hasCustomPrompt="1"/>
          </p:nvPr>
        </p:nvSpPr>
        <p:spPr>
          <a:xfrm>
            <a:off x="5508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6" name="Textplatzhalter 3">
            <a:extLst>
              <a:ext uri="{FF2B5EF4-FFF2-40B4-BE49-F238E27FC236}">
                <a16:creationId xmlns:a16="http://schemas.microsoft.com/office/drawing/2014/main" id="{07FED7D3-B7E2-489E-B602-A5CA1E348D4D}"/>
              </a:ext>
            </a:extLst>
          </p:cNvPr>
          <p:cNvSpPr>
            <a:spLocks noGrp="1"/>
          </p:cNvSpPr>
          <p:nvPr>
            <p:ph type="body" sz="quarter" idx="55" hasCustomPrompt="1"/>
          </p:nvPr>
        </p:nvSpPr>
        <p:spPr>
          <a:xfrm>
            <a:off x="5508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4</a:t>
            </a:r>
          </a:p>
        </p:txBody>
      </p:sp>
      <p:sp>
        <p:nvSpPr>
          <p:cNvPr id="47" name="Textplatzhalter 3">
            <a:extLst>
              <a:ext uri="{FF2B5EF4-FFF2-40B4-BE49-F238E27FC236}">
                <a16:creationId xmlns:a16="http://schemas.microsoft.com/office/drawing/2014/main" id="{BB5124BC-BE62-4D29-91EA-F2325D7BA265}"/>
              </a:ext>
            </a:extLst>
          </p:cNvPr>
          <p:cNvSpPr>
            <a:spLocks noGrp="1"/>
          </p:cNvSpPr>
          <p:nvPr>
            <p:ph type="body" sz="quarter" idx="56" hasCustomPrompt="1"/>
          </p:nvPr>
        </p:nvSpPr>
        <p:spPr>
          <a:xfrm>
            <a:off x="547721"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8" name="Textplatzhalter 3">
            <a:extLst>
              <a:ext uri="{FF2B5EF4-FFF2-40B4-BE49-F238E27FC236}">
                <a16:creationId xmlns:a16="http://schemas.microsoft.com/office/drawing/2014/main" id="{3794E261-5EA3-481D-8179-EDBA139F1CF9}"/>
              </a:ext>
            </a:extLst>
          </p:cNvPr>
          <p:cNvSpPr>
            <a:spLocks noGrp="1"/>
          </p:cNvSpPr>
          <p:nvPr>
            <p:ph type="body" sz="quarter" idx="57" hasCustomPrompt="1"/>
          </p:nvPr>
        </p:nvSpPr>
        <p:spPr>
          <a:xfrm>
            <a:off x="39731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9" name="Textplatzhalter 3">
            <a:extLst>
              <a:ext uri="{FF2B5EF4-FFF2-40B4-BE49-F238E27FC236}">
                <a16:creationId xmlns:a16="http://schemas.microsoft.com/office/drawing/2014/main" id="{253DA4C1-B43A-4915-83D0-14943A4C0922}"/>
              </a:ext>
            </a:extLst>
          </p:cNvPr>
          <p:cNvSpPr>
            <a:spLocks noGrp="1"/>
          </p:cNvSpPr>
          <p:nvPr>
            <p:ph type="body" sz="quarter" idx="58" hasCustomPrompt="1"/>
          </p:nvPr>
        </p:nvSpPr>
        <p:spPr>
          <a:xfrm>
            <a:off x="39731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8</a:t>
            </a:r>
          </a:p>
        </p:txBody>
      </p:sp>
      <p:sp>
        <p:nvSpPr>
          <p:cNvPr id="50" name="Textplatzhalter 3">
            <a:extLst>
              <a:ext uri="{FF2B5EF4-FFF2-40B4-BE49-F238E27FC236}">
                <a16:creationId xmlns:a16="http://schemas.microsoft.com/office/drawing/2014/main" id="{1A3EB076-6FE6-4C7B-9020-649E2F3C2533}"/>
              </a:ext>
            </a:extLst>
          </p:cNvPr>
          <p:cNvSpPr>
            <a:spLocks noGrp="1"/>
          </p:cNvSpPr>
          <p:nvPr>
            <p:ph type="body" sz="quarter" idx="59" hasCustomPrompt="1"/>
          </p:nvPr>
        </p:nvSpPr>
        <p:spPr>
          <a:xfrm>
            <a:off x="3973160"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1" name="Textplatzhalter 3">
            <a:extLst>
              <a:ext uri="{FF2B5EF4-FFF2-40B4-BE49-F238E27FC236}">
                <a16:creationId xmlns:a16="http://schemas.microsoft.com/office/drawing/2014/main" id="{A86BE064-E81B-4122-98B3-7D740307D50B}"/>
              </a:ext>
            </a:extLst>
          </p:cNvPr>
          <p:cNvSpPr>
            <a:spLocks noGrp="1"/>
          </p:cNvSpPr>
          <p:nvPr>
            <p:ph type="body" sz="quarter" idx="60" hasCustomPrompt="1"/>
          </p:nvPr>
        </p:nvSpPr>
        <p:spPr>
          <a:xfrm>
            <a:off x="7395456"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2" name="Textplatzhalter 3">
            <a:extLst>
              <a:ext uri="{FF2B5EF4-FFF2-40B4-BE49-F238E27FC236}">
                <a16:creationId xmlns:a16="http://schemas.microsoft.com/office/drawing/2014/main" id="{F40749C7-39EB-48F1-8BCF-C7A6463E06FB}"/>
              </a:ext>
            </a:extLst>
          </p:cNvPr>
          <p:cNvSpPr>
            <a:spLocks noGrp="1"/>
          </p:cNvSpPr>
          <p:nvPr>
            <p:ph type="body" sz="quarter" idx="61" hasCustomPrompt="1"/>
          </p:nvPr>
        </p:nvSpPr>
        <p:spPr>
          <a:xfrm>
            <a:off x="7395456"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2</a:t>
            </a:r>
          </a:p>
        </p:txBody>
      </p:sp>
      <p:sp>
        <p:nvSpPr>
          <p:cNvPr id="53" name="Textplatzhalter 3">
            <a:extLst>
              <a:ext uri="{FF2B5EF4-FFF2-40B4-BE49-F238E27FC236}">
                <a16:creationId xmlns:a16="http://schemas.microsoft.com/office/drawing/2014/main" id="{B8671B6F-36F5-437C-B7DE-FE1569378BB5}"/>
              </a:ext>
            </a:extLst>
          </p:cNvPr>
          <p:cNvSpPr>
            <a:spLocks noGrp="1"/>
          </p:cNvSpPr>
          <p:nvPr>
            <p:ph type="body" sz="quarter" idx="62" hasCustomPrompt="1"/>
          </p:nvPr>
        </p:nvSpPr>
        <p:spPr>
          <a:xfrm>
            <a:off x="7395456"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4" name="Textplatzhalter 3">
            <a:extLst>
              <a:ext uri="{FF2B5EF4-FFF2-40B4-BE49-F238E27FC236}">
                <a16:creationId xmlns:a16="http://schemas.microsoft.com/office/drawing/2014/main" id="{A6916979-97D0-4ACF-97AE-FD60BCA3C172}"/>
              </a:ext>
            </a:extLst>
          </p:cNvPr>
          <p:cNvSpPr>
            <a:spLocks noGrp="1"/>
          </p:cNvSpPr>
          <p:nvPr>
            <p:ph type="body" sz="quarter" idx="63" hasCustomPrompt="1"/>
          </p:nvPr>
        </p:nvSpPr>
        <p:spPr>
          <a:xfrm>
            <a:off x="39731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5" name="Textplatzhalter 3">
            <a:extLst>
              <a:ext uri="{FF2B5EF4-FFF2-40B4-BE49-F238E27FC236}">
                <a16:creationId xmlns:a16="http://schemas.microsoft.com/office/drawing/2014/main" id="{B9B7F53E-4F96-40D1-9381-966444117101}"/>
              </a:ext>
            </a:extLst>
          </p:cNvPr>
          <p:cNvSpPr>
            <a:spLocks noGrp="1"/>
          </p:cNvSpPr>
          <p:nvPr>
            <p:ph type="body" sz="quarter" idx="64" hasCustomPrompt="1"/>
          </p:nvPr>
        </p:nvSpPr>
        <p:spPr>
          <a:xfrm>
            <a:off x="39731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5</a:t>
            </a:r>
          </a:p>
        </p:txBody>
      </p:sp>
      <p:sp>
        <p:nvSpPr>
          <p:cNvPr id="56" name="Textplatzhalter 3">
            <a:extLst>
              <a:ext uri="{FF2B5EF4-FFF2-40B4-BE49-F238E27FC236}">
                <a16:creationId xmlns:a16="http://schemas.microsoft.com/office/drawing/2014/main" id="{14FB1D66-D15A-4825-8883-755F01BA7595}"/>
              </a:ext>
            </a:extLst>
          </p:cNvPr>
          <p:cNvSpPr>
            <a:spLocks noGrp="1"/>
          </p:cNvSpPr>
          <p:nvPr>
            <p:ph type="body" sz="quarter" idx="65" hasCustomPrompt="1"/>
          </p:nvPr>
        </p:nvSpPr>
        <p:spPr>
          <a:xfrm>
            <a:off x="3973160"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7" name="Textplatzhalter 3">
            <a:extLst>
              <a:ext uri="{FF2B5EF4-FFF2-40B4-BE49-F238E27FC236}">
                <a16:creationId xmlns:a16="http://schemas.microsoft.com/office/drawing/2014/main" id="{BC7E7470-7768-445D-B75F-3311F9C56C41}"/>
              </a:ext>
            </a:extLst>
          </p:cNvPr>
          <p:cNvSpPr>
            <a:spLocks noGrp="1"/>
          </p:cNvSpPr>
          <p:nvPr>
            <p:ph type="body" sz="quarter" idx="66" hasCustomPrompt="1"/>
          </p:nvPr>
        </p:nvSpPr>
        <p:spPr>
          <a:xfrm>
            <a:off x="7395456"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8" name="Textplatzhalter 3">
            <a:extLst>
              <a:ext uri="{FF2B5EF4-FFF2-40B4-BE49-F238E27FC236}">
                <a16:creationId xmlns:a16="http://schemas.microsoft.com/office/drawing/2014/main" id="{E201FB22-3385-45D1-8A4C-AA30C0A901C3}"/>
              </a:ext>
            </a:extLst>
          </p:cNvPr>
          <p:cNvSpPr>
            <a:spLocks noGrp="1"/>
          </p:cNvSpPr>
          <p:nvPr>
            <p:ph type="body" sz="quarter" idx="67" hasCustomPrompt="1"/>
          </p:nvPr>
        </p:nvSpPr>
        <p:spPr>
          <a:xfrm>
            <a:off x="7395456"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9</a:t>
            </a:r>
          </a:p>
        </p:txBody>
      </p:sp>
      <p:sp>
        <p:nvSpPr>
          <p:cNvPr id="59" name="Textplatzhalter 3">
            <a:extLst>
              <a:ext uri="{FF2B5EF4-FFF2-40B4-BE49-F238E27FC236}">
                <a16:creationId xmlns:a16="http://schemas.microsoft.com/office/drawing/2014/main" id="{8FC314C2-204E-4BB5-8FCA-55C1CD3C7251}"/>
              </a:ext>
            </a:extLst>
          </p:cNvPr>
          <p:cNvSpPr>
            <a:spLocks noGrp="1"/>
          </p:cNvSpPr>
          <p:nvPr>
            <p:ph type="body" sz="quarter" idx="68" hasCustomPrompt="1"/>
          </p:nvPr>
        </p:nvSpPr>
        <p:spPr>
          <a:xfrm>
            <a:off x="7395456"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0" name="Textplatzhalter 3">
            <a:extLst>
              <a:ext uri="{FF2B5EF4-FFF2-40B4-BE49-F238E27FC236}">
                <a16:creationId xmlns:a16="http://schemas.microsoft.com/office/drawing/2014/main" id="{BB6244DF-CA77-44DE-B7EA-E2785BC4A802}"/>
              </a:ext>
            </a:extLst>
          </p:cNvPr>
          <p:cNvSpPr>
            <a:spLocks noGrp="1"/>
          </p:cNvSpPr>
          <p:nvPr>
            <p:ph type="body" sz="quarter" idx="69" hasCustomPrompt="1"/>
          </p:nvPr>
        </p:nvSpPr>
        <p:spPr>
          <a:xfrm>
            <a:off x="5508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1" name="Textplatzhalter 3">
            <a:extLst>
              <a:ext uri="{FF2B5EF4-FFF2-40B4-BE49-F238E27FC236}">
                <a16:creationId xmlns:a16="http://schemas.microsoft.com/office/drawing/2014/main" id="{C54E7310-756C-4F78-9435-281CABF59C04}"/>
              </a:ext>
            </a:extLst>
          </p:cNvPr>
          <p:cNvSpPr>
            <a:spLocks noGrp="1"/>
          </p:cNvSpPr>
          <p:nvPr>
            <p:ph type="body" sz="quarter" idx="70" hasCustomPrompt="1"/>
          </p:nvPr>
        </p:nvSpPr>
        <p:spPr>
          <a:xfrm>
            <a:off x="5508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2</a:t>
            </a:r>
          </a:p>
        </p:txBody>
      </p:sp>
      <p:sp>
        <p:nvSpPr>
          <p:cNvPr id="62" name="Textplatzhalter 3">
            <a:extLst>
              <a:ext uri="{FF2B5EF4-FFF2-40B4-BE49-F238E27FC236}">
                <a16:creationId xmlns:a16="http://schemas.microsoft.com/office/drawing/2014/main" id="{CB310BE0-7294-44E4-AA6F-EE045BC252F9}"/>
              </a:ext>
            </a:extLst>
          </p:cNvPr>
          <p:cNvSpPr>
            <a:spLocks noGrp="1"/>
          </p:cNvSpPr>
          <p:nvPr>
            <p:ph type="body" sz="quarter" idx="71" hasCustomPrompt="1"/>
          </p:nvPr>
        </p:nvSpPr>
        <p:spPr>
          <a:xfrm>
            <a:off x="547721"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3" name="Textplatzhalter 3">
            <a:extLst>
              <a:ext uri="{FF2B5EF4-FFF2-40B4-BE49-F238E27FC236}">
                <a16:creationId xmlns:a16="http://schemas.microsoft.com/office/drawing/2014/main" id="{F8E435ED-FB83-4C1F-87D5-715D0B956134}"/>
              </a:ext>
            </a:extLst>
          </p:cNvPr>
          <p:cNvSpPr>
            <a:spLocks noGrp="1"/>
          </p:cNvSpPr>
          <p:nvPr>
            <p:ph type="body" sz="quarter" idx="72" hasCustomPrompt="1"/>
          </p:nvPr>
        </p:nvSpPr>
        <p:spPr>
          <a:xfrm>
            <a:off x="5508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4" name="Textplatzhalter 3">
            <a:extLst>
              <a:ext uri="{FF2B5EF4-FFF2-40B4-BE49-F238E27FC236}">
                <a16:creationId xmlns:a16="http://schemas.microsoft.com/office/drawing/2014/main" id="{B135DC37-5469-4E2B-81A3-659FC42D05F0}"/>
              </a:ext>
            </a:extLst>
          </p:cNvPr>
          <p:cNvSpPr>
            <a:spLocks noGrp="1"/>
          </p:cNvSpPr>
          <p:nvPr>
            <p:ph type="body" sz="quarter" idx="73" hasCustomPrompt="1"/>
          </p:nvPr>
        </p:nvSpPr>
        <p:spPr>
          <a:xfrm>
            <a:off x="5508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3</a:t>
            </a:r>
          </a:p>
        </p:txBody>
      </p:sp>
      <p:sp>
        <p:nvSpPr>
          <p:cNvPr id="65" name="Textplatzhalter 3">
            <a:extLst>
              <a:ext uri="{FF2B5EF4-FFF2-40B4-BE49-F238E27FC236}">
                <a16:creationId xmlns:a16="http://schemas.microsoft.com/office/drawing/2014/main" id="{A4D78715-C2AC-4B79-BF84-F268607EC2B7}"/>
              </a:ext>
            </a:extLst>
          </p:cNvPr>
          <p:cNvSpPr>
            <a:spLocks noGrp="1"/>
          </p:cNvSpPr>
          <p:nvPr>
            <p:ph type="body" sz="quarter" idx="74" hasCustomPrompt="1"/>
          </p:nvPr>
        </p:nvSpPr>
        <p:spPr>
          <a:xfrm>
            <a:off x="547721"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6" name="Textplatzhalter 3">
            <a:extLst>
              <a:ext uri="{FF2B5EF4-FFF2-40B4-BE49-F238E27FC236}">
                <a16:creationId xmlns:a16="http://schemas.microsoft.com/office/drawing/2014/main" id="{61C2E96C-E02E-4FE7-AE7E-FE385A35EAF8}"/>
              </a:ext>
            </a:extLst>
          </p:cNvPr>
          <p:cNvSpPr>
            <a:spLocks noGrp="1"/>
          </p:cNvSpPr>
          <p:nvPr>
            <p:ph type="body" sz="quarter" idx="75" hasCustomPrompt="1"/>
          </p:nvPr>
        </p:nvSpPr>
        <p:spPr>
          <a:xfrm>
            <a:off x="39731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7" name="Textplatzhalter 3">
            <a:extLst>
              <a:ext uri="{FF2B5EF4-FFF2-40B4-BE49-F238E27FC236}">
                <a16:creationId xmlns:a16="http://schemas.microsoft.com/office/drawing/2014/main" id="{B59F9B95-2C7F-4982-9C10-B52CDA984CB7}"/>
              </a:ext>
            </a:extLst>
          </p:cNvPr>
          <p:cNvSpPr>
            <a:spLocks noGrp="1"/>
          </p:cNvSpPr>
          <p:nvPr>
            <p:ph type="body" sz="quarter" idx="76" hasCustomPrompt="1"/>
          </p:nvPr>
        </p:nvSpPr>
        <p:spPr>
          <a:xfrm>
            <a:off x="39731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6</a:t>
            </a:r>
          </a:p>
        </p:txBody>
      </p:sp>
      <p:sp>
        <p:nvSpPr>
          <p:cNvPr id="105" name="Textplatzhalter 3">
            <a:extLst>
              <a:ext uri="{FF2B5EF4-FFF2-40B4-BE49-F238E27FC236}">
                <a16:creationId xmlns:a16="http://schemas.microsoft.com/office/drawing/2014/main" id="{4E1058C0-0F3F-4E7F-B468-AB91E89BCE86}"/>
              </a:ext>
            </a:extLst>
          </p:cNvPr>
          <p:cNvSpPr>
            <a:spLocks noGrp="1"/>
          </p:cNvSpPr>
          <p:nvPr>
            <p:ph type="body" sz="quarter" idx="77" hasCustomPrompt="1"/>
          </p:nvPr>
        </p:nvSpPr>
        <p:spPr>
          <a:xfrm>
            <a:off x="3973160"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6" name="Textplatzhalter 3">
            <a:extLst>
              <a:ext uri="{FF2B5EF4-FFF2-40B4-BE49-F238E27FC236}">
                <a16:creationId xmlns:a16="http://schemas.microsoft.com/office/drawing/2014/main" id="{B5F75FC0-195C-447B-87A0-FF8568298EC6}"/>
              </a:ext>
            </a:extLst>
          </p:cNvPr>
          <p:cNvSpPr>
            <a:spLocks noGrp="1"/>
          </p:cNvSpPr>
          <p:nvPr>
            <p:ph type="body" sz="quarter" idx="78" hasCustomPrompt="1"/>
          </p:nvPr>
        </p:nvSpPr>
        <p:spPr>
          <a:xfrm>
            <a:off x="39731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07" name="Textplatzhalter 3">
            <a:extLst>
              <a:ext uri="{FF2B5EF4-FFF2-40B4-BE49-F238E27FC236}">
                <a16:creationId xmlns:a16="http://schemas.microsoft.com/office/drawing/2014/main" id="{5048C232-FA01-4578-827F-296A5F9FB871}"/>
              </a:ext>
            </a:extLst>
          </p:cNvPr>
          <p:cNvSpPr>
            <a:spLocks noGrp="1"/>
          </p:cNvSpPr>
          <p:nvPr>
            <p:ph type="body" sz="quarter" idx="79" hasCustomPrompt="1"/>
          </p:nvPr>
        </p:nvSpPr>
        <p:spPr>
          <a:xfrm>
            <a:off x="39731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7</a:t>
            </a:r>
          </a:p>
        </p:txBody>
      </p:sp>
      <p:sp>
        <p:nvSpPr>
          <p:cNvPr id="3" name="Foliennummernplatzhalter 2">
            <a:extLst>
              <a:ext uri="{FF2B5EF4-FFF2-40B4-BE49-F238E27FC236}">
                <a16:creationId xmlns:a16="http://schemas.microsoft.com/office/drawing/2014/main" id="{10B33891-8696-46C8-AB90-4A484311CCA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08" name="Textplatzhalter 3">
            <a:extLst>
              <a:ext uri="{FF2B5EF4-FFF2-40B4-BE49-F238E27FC236}">
                <a16:creationId xmlns:a16="http://schemas.microsoft.com/office/drawing/2014/main" id="{33DF590D-98BE-4442-A404-2F173B90F844}"/>
              </a:ext>
            </a:extLst>
          </p:cNvPr>
          <p:cNvSpPr>
            <a:spLocks noGrp="1"/>
          </p:cNvSpPr>
          <p:nvPr>
            <p:ph type="body" sz="quarter" idx="80" hasCustomPrompt="1"/>
          </p:nvPr>
        </p:nvSpPr>
        <p:spPr>
          <a:xfrm>
            <a:off x="3973160"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9" name="Textplatzhalter 3">
            <a:extLst>
              <a:ext uri="{FF2B5EF4-FFF2-40B4-BE49-F238E27FC236}">
                <a16:creationId xmlns:a16="http://schemas.microsoft.com/office/drawing/2014/main" id="{E146728B-C1CC-4A26-975E-1F80C0EEB1FA}"/>
              </a:ext>
            </a:extLst>
          </p:cNvPr>
          <p:cNvSpPr>
            <a:spLocks noGrp="1"/>
          </p:cNvSpPr>
          <p:nvPr>
            <p:ph type="body" sz="quarter" idx="81" hasCustomPrompt="1"/>
          </p:nvPr>
        </p:nvSpPr>
        <p:spPr>
          <a:xfrm>
            <a:off x="7395456"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0" name="Textplatzhalter 3">
            <a:extLst>
              <a:ext uri="{FF2B5EF4-FFF2-40B4-BE49-F238E27FC236}">
                <a16:creationId xmlns:a16="http://schemas.microsoft.com/office/drawing/2014/main" id="{FE3599FC-F229-408A-B27F-DA32F839CF4F}"/>
              </a:ext>
            </a:extLst>
          </p:cNvPr>
          <p:cNvSpPr>
            <a:spLocks noGrp="1"/>
          </p:cNvSpPr>
          <p:nvPr>
            <p:ph type="body" sz="quarter" idx="82" hasCustomPrompt="1"/>
          </p:nvPr>
        </p:nvSpPr>
        <p:spPr>
          <a:xfrm>
            <a:off x="7395456"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0</a:t>
            </a:r>
          </a:p>
        </p:txBody>
      </p:sp>
      <p:sp>
        <p:nvSpPr>
          <p:cNvPr id="111" name="Textplatzhalter 3">
            <a:extLst>
              <a:ext uri="{FF2B5EF4-FFF2-40B4-BE49-F238E27FC236}">
                <a16:creationId xmlns:a16="http://schemas.microsoft.com/office/drawing/2014/main" id="{EB3AB6FF-941F-41F2-9B5D-7980D4D9E565}"/>
              </a:ext>
            </a:extLst>
          </p:cNvPr>
          <p:cNvSpPr>
            <a:spLocks noGrp="1"/>
          </p:cNvSpPr>
          <p:nvPr>
            <p:ph type="body" sz="quarter" idx="83" hasCustomPrompt="1"/>
          </p:nvPr>
        </p:nvSpPr>
        <p:spPr>
          <a:xfrm>
            <a:off x="7395456"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12" name="Textplatzhalter 3">
            <a:extLst>
              <a:ext uri="{FF2B5EF4-FFF2-40B4-BE49-F238E27FC236}">
                <a16:creationId xmlns:a16="http://schemas.microsoft.com/office/drawing/2014/main" id="{B93D6E89-014A-4D33-A463-CE2581CA5769}"/>
              </a:ext>
            </a:extLst>
          </p:cNvPr>
          <p:cNvSpPr>
            <a:spLocks noGrp="1"/>
          </p:cNvSpPr>
          <p:nvPr>
            <p:ph type="body" sz="quarter" idx="84" hasCustomPrompt="1"/>
          </p:nvPr>
        </p:nvSpPr>
        <p:spPr>
          <a:xfrm>
            <a:off x="7395456"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3" name="Textplatzhalter 3">
            <a:extLst>
              <a:ext uri="{FF2B5EF4-FFF2-40B4-BE49-F238E27FC236}">
                <a16:creationId xmlns:a16="http://schemas.microsoft.com/office/drawing/2014/main" id="{A078146D-1AA4-4540-A14F-27984D722C60}"/>
              </a:ext>
            </a:extLst>
          </p:cNvPr>
          <p:cNvSpPr>
            <a:spLocks noGrp="1"/>
          </p:cNvSpPr>
          <p:nvPr>
            <p:ph type="body" sz="quarter" idx="85" hasCustomPrompt="1"/>
          </p:nvPr>
        </p:nvSpPr>
        <p:spPr>
          <a:xfrm>
            <a:off x="7395456"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1</a:t>
            </a:r>
          </a:p>
        </p:txBody>
      </p:sp>
      <p:sp>
        <p:nvSpPr>
          <p:cNvPr id="114" name="Textplatzhalter 3">
            <a:extLst>
              <a:ext uri="{FF2B5EF4-FFF2-40B4-BE49-F238E27FC236}">
                <a16:creationId xmlns:a16="http://schemas.microsoft.com/office/drawing/2014/main" id="{639AF660-0769-4FFF-9578-34F78B453FC5}"/>
              </a:ext>
            </a:extLst>
          </p:cNvPr>
          <p:cNvSpPr>
            <a:spLocks noGrp="1"/>
          </p:cNvSpPr>
          <p:nvPr>
            <p:ph type="body" sz="quarter" idx="86" hasCustomPrompt="1"/>
          </p:nvPr>
        </p:nvSpPr>
        <p:spPr>
          <a:xfrm>
            <a:off x="7395456"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 name="Textplatzhalter 3">
            <a:extLst>
              <a:ext uri="{FF2B5EF4-FFF2-40B4-BE49-F238E27FC236}">
                <a16:creationId xmlns:a16="http://schemas.microsoft.com/office/drawing/2014/main" id="{F88EE862-7DA8-42B1-A8EE-C0D31A8FA778}"/>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Überflüssige </a:t>
            </a:r>
            <a:r>
              <a:rPr lang="de-DE" dirty="0" err="1"/>
              <a:t>Agendapunkte</a:t>
            </a:r>
            <a:r>
              <a:rPr lang="de-DE" dirty="0"/>
              <a:t> löschen</a:t>
            </a:r>
          </a:p>
        </p:txBody>
      </p:sp>
      <p:sp>
        <p:nvSpPr>
          <p:cNvPr id="104" name="Titel 103">
            <a:extLst>
              <a:ext uri="{FF2B5EF4-FFF2-40B4-BE49-F238E27FC236}">
                <a16:creationId xmlns:a16="http://schemas.microsoft.com/office/drawing/2014/main" id="{C98E9493-1F8B-4FBF-92CD-FD88C8614C6D}"/>
              </a:ext>
            </a:extLst>
          </p:cNvPr>
          <p:cNvSpPr>
            <a:spLocks noGrp="1"/>
          </p:cNvSpPr>
          <p:nvPr>
            <p:ph type="title" hasCustomPrompt="1"/>
          </p:nvPr>
        </p:nvSpPr>
        <p:spPr/>
        <p:txBody>
          <a:bodyPr/>
          <a:lstStyle>
            <a:lvl1pPr>
              <a:defRPr sz="2400"/>
            </a:lvl1pPr>
          </a:lstStyle>
          <a:p>
            <a:r>
              <a:rPr lang="de-DE" dirty="0"/>
              <a:t>Agenda mit 12 </a:t>
            </a:r>
            <a:r>
              <a:rPr lang="de-DE" dirty="0" err="1"/>
              <a:t>Agendapunkten</a:t>
            </a:r>
            <a:endParaRPr lang="de-DE" dirty="0"/>
          </a:p>
        </p:txBody>
      </p:sp>
    </p:spTree>
    <p:extLst>
      <p:ext uri="{BB962C8B-B14F-4D97-AF65-F5344CB8AC3E}">
        <p14:creationId xmlns:p14="http://schemas.microsoft.com/office/powerpoint/2010/main" val="1519303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sp>
        <p:nvSpPr>
          <p:cNvPr id="9" name="Textplatzhalter 7">
            <a:extLst>
              <a:ext uri="{FF2B5EF4-FFF2-40B4-BE49-F238E27FC236}">
                <a16:creationId xmlns:a16="http://schemas.microsoft.com/office/drawing/2014/main" id="{F1F9F7F3-E297-488C-9180-98A0D20708E9}"/>
              </a:ext>
            </a:extLst>
          </p:cNvPr>
          <p:cNvSpPr>
            <a:spLocks noGrp="1"/>
          </p:cNvSpPr>
          <p:nvPr>
            <p:ph type="body" sz="quarter" idx="13"/>
          </p:nvPr>
        </p:nvSpPr>
        <p:spPr>
          <a:xfrm>
            <a:off x="550800" y="1414800"/>
            <a:ext cx="11088000"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4" name="Textplatzhalter 3">
            <a:extLst>
              <a:ext uri="{FF2B5EF4-FFF2-40B4-BE49-F238E27FC236}">
                <a16:creationId xmlns:a16="http://schemas.microsoft.com/office/drawing/2014/main" id="{9906BC7D-FDBC-4717-AFE2-35AF248D4EE1}"/>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extplatzhalter 3">
            <a:extLst>
              <a:ext uri="{FF2B5EF4-FFF2-40B4-BE49-F238E27FC236}">
                <a16:creationId xmlns:a16="http://schemas.microsoft.com/office/drawing/2014/main" id="{24B6441E-853A-40CB-82EE-6D02E85650A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2" name="Titel 1">
            <a:extLst>
              <a:ext uri="{FF2B5EF4-FFF2-40B4-BE49-F238E27FC236}">
                <a16:creationId xmlns:a16="http://schemas.microsoft.com/office/drawing/2014/main" id="{954EE93F-0761-45C0-94F2-7FB72E74DE69}"/>
              </a:ext>
            </a:extLst>
          </p:cNvPr>
          <p:cNvSpPr>
            <a:spLocks noGrp="1"/>
          </p:cNvSpPr>
          <p:nvPr>
            <p:ph type="title" hasCustomPrompt="1"/>
          </p:nvPr>
        </p:nvSpPr>
        <p:spPr/>
        <p:txBody>
          <a:bodyPr/>
          <a:lstStyle>
            <a:lvl1pPr>
              <a:defRPr sz="2400"/>
            </a:lvl1pPr>
          </a:lstStyle>
          <a:p>
            <a:r>
              <a:rPr lang="de-DE" dirty="0"/>
              <a:t>Textfolie</a:t>
            </a:r>
          </a:p>
        </p:txBody>
      </p:sp>
    </p:spTree>
    <p:extLst>
      <p:ext uri="{BB962C8B-B14F-4D97-AF65-F5344CB8AC3E}">
        <p14:creationId xmlns:p14="http://schemas.microsoft.com/office/powerpoint/2010/main" val="1633053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folie_zw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4">
            <a:extLst>
              <a:ext uri="{FF2B5EF4-FFF2-40B4-BE49-F238E27FC236}">
                <a16:creationId xmlns:a16="http://schemas.microsoft.com/office/drawing/2014/main" id="{DAD89AB9-E414-4619-ACC3-36F954C2726C}"/>
              </a:ext>
            </a:extLst>
          </p:cNvPr>
          <p:cNvSpPr>
            <a:spLocks noGrp="1"/>
          </p:cNvSpPr>
          <p:nvPr>
            <p:ph sz="quarter" idx="19"/>
          </p:nvPr>
        </p:nvSpPr>
        <p:spPr>
          <a:xfrm>
            <a:off x="6274636"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r Verbinder 6">
            <a:extLst>
              <a:ext uri="{FF2B5EF4-FFF2-40B4-BE49-F238E27FC236}">
                <a16:creationId xmlns:a16="http://schemas.microsoft.com/office/drawing/2014/main" id="{F7C1B1C2-C07C-4168-A540-C144876FBE8E}"/>
              </a:ext>
            </a:extLst>
          </p:cNvPr>
          <p:cNvCxnSpPr>
            <a:cxnSpLocks/>
          </p:cNvCxnSpPr>
          <p:nvPr userDrawn="1"/>
        </p:nvCxnSpPr>
        <p:spPr>
          <a:xfrm flipV="1">
            <a:off x="591661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7AA13208-E29B-4E70-8A82-79F8D3D46118}"/>
              </a:ext>
            </a:extLst>
          </p:cNvPr>
          <p:cNvSpPr txBox="1"/>
          <p:nvPr userDrawn="1"/>
        </p:nvSpPr>
        <p:spPr>
          <a:xfrm>
            <a:off x="5522912" y="-209550"/>
            <a:ext cx="500062" cy="138499"/>
          </a:xfrm>
          <a:prstGeom prst="rect">
            <a:avLst/>
          </a:prstGeom>
          <a:noFill/>
        </p:spPr>
        <p:txBody>
          <a:bodyPr wrap="square" lIns="0" tIns="0" rIns="0" bIns="0" rtlCol="0">
            <a:noAutofit/>
          </a:bodyPr>
          <a:lstStyle/>
          <a:p>
            <a:r>
              <a:rPr lang="de-DE" sz="900" dirty="0"/>
              <a:t>0,50</a:t>
            </a:r>
          </a:p>
        </p:txBody>
      </p:sp>
      <p:cxnSp>
        <p:nvCxnSpPr>
          <p:cNvPr id="11" name="Gerader Verbinder 10">
            <a:extLst>
              <a:ext uri="{FF2B5EF4-FFF2-40B4-BE49-F238E27FC236}">
                <a16:creationId xmlns:a16="http://schemas.microsoft.com/office/drawing/2014/main" id="{915066E9-296C-4BC9-88E9-502A79729C95}"/>
              </a:ext>
            </a:extLst>
          </p:cNvPr>
          <p:cNvCxnSpPr>
            <a:cxnSpLocks/>
          </p:cNvCxnSpPr>
          <p:nvPr userDrawn="1"/>
        </p:nvCxnSpPr>
        <p:spPr>
          <a:xfrm flipV="1">
            <a:off x="6273801"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3891BDBC-96EB-47F4-9D82-B6566A4E5112}"/>
              </a:ext>
            </a:extLst>
          </p:cNvPr>
          <p:cNvSpPr txBox="1"/>
          <p:nvPr userDrawn="1"/>
        </p:nvSpPr>
        <p:spPr>
          <a:xfrm>
            <a:off x="6407150" y="-209550"/>
            <a:ext cx="500062" cy="138499"/>
          </a:xfrm>
          <a:prstGeom prst="rect">
            <a:avLst/>
          </a:prstGeom>
          <a:noFill/>
        </p:spPr>
        <p:txBody>
          <a:bodyPr wrap="square" lIns="0" tIns="0" rIns="0" bIns="0" rtlCol="0">
            <a:noAutofit/>
          </a:bodyPr>
          <a:lstStyle/>
          <a:p>
            <a:r>
              <a:rPr lang="de-DE" sz="900" dirty="0"/>
              <a:t>0,50</a:t>
            </a:r>
          </a:p>
        </p:txBody>
      </p:sp>
      <p:sp>
        <p:nvSpPr>
          <p:cNvPr id="14" name="Textplatzhalter 3">
            <a:extLst>
              <a:ext uri="{FF2B5EF4-FFF2-40B4-BE49-F238E27FC236}">
                <a16:creationId xmlns:a16="http://schemas.microsoft.com/office/drawing/2014/main" id="{C39039E1-AA99-45F6-9656-70C2B23A2656}"/>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726C2D1-5259-462C-90C5-E59A854275CC}"/>
              </a:ext>
            </a:extLst>
          </p:cNvPr>
          <p:cNvSpPr>
            <a:spLocks noGrp="1"/>
          </p:cNvSpPr>
          <p:nvPr>
            <p:ph type="title" hasCustomPrompt="1"/>
          </p:nvPr>
        </p:nvSpPr>
        <p:spPr/>
        <p:txBody>
          <a:bodyPr/>
          <a:lstStyle>
            <a:lvl1pPr>
              <a:defRPr sz="2400"/>
            </a:lvl1pPr>
          </a:lstStyle>
          <a:p>
            <a:r>
              <a:rPr lang="de-DE" dirty="0"/>
              <a:t>Inhaltsfolie, zweispaltig</a:t>
            </a:r>
          </a:p>
        </p:txBody>
      </p:sp>
      <p:sp>
        <p:nvSpPr>
          <p:cNvPr id="13" name="Textplatzhalter 3">
            <a:extLst>
              <a:ext uri="{FF2B5EF4-FFF2-40B4-BE49-F238E27FC236}">
                <a16:creationId xmlns:a16="http://schemas.microsoft.com/office/drawing/2014/main" id="{6A0741AD-DE4C-47A0-ACC1-A2B0CD9B015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197050338"/>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folie_dr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Inhaltsplatzhalter 4">
            <a:extLst>
              <a:ext uri="{FF2B5EF4-FFF2-40B4-BE49-F238E27FC236}">
                <a16:creationId xmlns:a16="http://schemas.microsoft.com/office/drawing/2014/main" id="{B0BEE877-F4CF-4B2D-B338-06B30C9C2AB6}"/>
              </a:ext>
            </a:extLst>
          </p:cNvPr>
          <p:cNvSpPr>
            <a:spLocks noGrp="1"/>
          </p:cNvSpPr>
          <p:nvPr>
            <p:ph sz="quarter" idx="20"/>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extplatzhalter 3">
            <a:extLst>
              <a:ext uri="{FF2B5EF4-FFF2-40B4-BE49-F238E27FC236}">
                <a16:creationId xmlns:a16="http://schemas.microsoft.com/office/drawing/2014/main" id="{DAC6A7FF-6BA2-4C98-9A4D-E9B04C57FF89}"/>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6D21FE69-C171-47F5-9D7A-8F2E85637E53}"/>
              </a:ext>
            </a:extLst>
          </p:cNvPr>
          <p:cNvSpPr>
            <a:spLocks noGrp="1"/>
          </p:cNvSpPr>
          <p:nvPr>
            <p:ph type="title" hasCustomPrompt="1"/>
          </p:nvPr>
        </p:nvSpPr>
        <p:spPr/>
        <p:txBody>
          <a:bodyPr/>
          <a:lstStyle>
            <a:lvl1pPr>
              <a:defRPr sz="2400"/>
            </a:lvl1pPr>
          </a:lstStyle>
          <a:p>
            <a:r>
              <a:rPr lang="de-DE" dirty="0"/>
              <a:t>Inhaltsfolie, dreispaltig</a:t>
            </a:r>
          </a:p>
        </p:txBody>
      </p:sp>
      <p:sp>
        <p:nvSpPr>
          <p:cNvPr id="23" name="Textplatzhalter 3">
            <a:extLst>
              <a:ext uri="{FF2B5EF4-FFF2-40B4-BE49-F238E27FC236}">
                <a16:creationId xmlns:a16="http://schemas.microsoft.com/office/drawing/2014/main" id="{0BE647FB-F8CD-408C-9CBF-008B04BBF4BF}"/>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4124328936"/>
      </p:ext>
    </p:extLst>
  </p:cSld>
  <p:clrMapOvr>
    <a:masterClrMapping/>
  </p:clrMapOvr>
  <p:extLst>
    <p:ext uri="{DCECCB84-F9BA-43D5-87BE-67443E8EF086}">
      <p15:sldGuideLst xmlns:p15="http://schemas.microsoft.com/office/powerpoint/2012/main">
        <p15:guide id="2" pos="2525" userDrawn="1">
          <p15:clr>
            <a:srgbClr val="FBAE40"/>
          </p15:clr>
        </p15:guide>
        <p15:guide id="3" pos="2751" userDrawn="1">
          <p15:clr>
            <a:srgbClr val="FBAE40"/>
          </p15:clr>
        </p15:guide>
        <p15:guide id="4" pos="4929" userDrawn="1">
          <p15:clr>
            <a:srgbClr val="FBAE40"/>
          </p15:clr>
        </p15:guide>
        <p15:guide id="5" pos="515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1B76EBF-D78F-474C-935F-52F14B459701}"/>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8" name="Bildplatzhalter 17">
            <a:extLst>
              <a:ext uri="{FF2B5EF4-FFF2-40B4-BE49-F238E27FC236}">
                <a16:creationId xmlns:a16="http://schemas.microsoft.com/office/drawing/2014/main" id="{40AEF3B9-58D6-437C-95A3-F5FE2C54075B}"/>
              </a:ext>
            </a:extLst>
          </p:cNvPr>
          <p:cNvSpPr>
            <a:spLocks noGrp="1"/>
          </p:cNvSpPr>
          <p:nvPr>
            <p:ph type="pic" sz="quarter" idx="12" hasCustomPrompt="1"/>
          </p:nvPr>
        </p:nvSpPr>
        <p:spPr>
          <a:xfrm>
            <a:off x="0" y="1"/>
            <a:ext cx="6857999" cy="6857999"/>
          </a:xfrm>
          <a:custGeom>
            <a:avLst/>
            <a:gdLst>
              <a:gd name="connsiteX0" fmla="*/ 4589999 w 6857999"/>
              <a:gd name="connsiteY0" fmla="*/ 4590000 h 6857999"/>
              <a:gd name="connsiteX1" fmla="*/ 6857999 w 6857999"/>
              <a:gd name="connsiteY1" fmla="*/ 4590000 h 6857999"/>
              <a:gd name="connsiteX2" fmla="*/ 6857999 w 6857999"/>
              <a:gd name="connsiteY2" fmla="*/ 6857999 h 6857999"/>
              <a:gd name="connsiteX3" fmla="*/ 4589999 w 6857999"/>
              <a:gd name="connsiteY3" fmla="*/ 6857999 h 6857999"/>
              <a:gd name="connsiteX4" fmla="*/ 2304000 w 6857999"/>
              <a:gd name="connsiteY4" fmla="*/ 4590000 h 6857999"/>
              <a:gd name="connsiteX5" fmla="*/ 4553999 w 6857999"/>
              <a:gd name="connsiteY5" fmla="*/ 4590000 h 6857999"/>
              <a:gd name="connsiteX6" fmla="*/ 4553999 w 6857999"/>
              <a:gd name="connsiteY6" fmla="*/ 6857999 h 6857999"/>
              <a:gd name="connsiteX7" fmla="*/ 2304000 w 6857999"/>
              <a:gd name="connsiteY7" fmla="*/ 6857999 h 6857999"/>
              <a:gd name="connsiteX8" fmla="*/ 2304000 w 6857999"/>
              <a:gd name="connsiteY8" fmla="*/ 2304000 h 6857999"/>
              <a:gd name="connsiteX9" fmla="*/ 4553999 w 6857999"/>
              <a:gd name="connsiteY9" fmla="*/ 2304000 h 6857999"/>
              <a:gd name="connsiteX10" fmla="*/ 4553999 w 6857999"/>
              <a:gd name="connsiteY10" fmla="*/ 4554000 h 6857999"/>
              <a:gd name="connsiteX11" fmla="*/ 2304000 w 6857999"/>
              <a:gd name="connsiteY11" fmla="*/ 4554000 h 6857999"/>
              <a:gd name="connsiteX12" fmla="*/ 0 w 6857999"/>
              <a:gd name="connsiteY12" fmla="*/ 2304000 h 6857999"/>
              <a:gd name="connsiteX13" fmla="*/ 2268000 w 6857999"/>
              <a:gd name="connsiteY13" fmla="*/ 2304000 h 6857999"/>
              <a:gd name="connsiteX14" fmla="*/ 2268000 w 6857999"/>
              <a:gd name="connsiteY14" fmla="*/ 4554000 h 6857999"/>
              <a:gd name="connsiteX15" fmla="*/ 0 w 6857999"/>
              <a:gd name="connsiteY15" fmla="*/ 4554000 h 6857999"/>
              <a:gd name="connsiteX16" fmla="*/ 4589999 w 6857999"/>
              <a:gd name="connsiteY16" fmla="*/ 0 h 6857999"/>
              <a:gd name="connsiteX17" fmla="*/ 6857999 w 6857999"/>
              <a:gd name="connsiteY17" fmla="*/ 0 h 6857999"/>
              <a:gd name="connsiteX18" fmla="*/ 6857999 w 6857999"/>
              <a:gd name="connsiteY18" fmla="*/ 2268000 h 6857999"/>
              <a:gd name="connsiteX19" fmla="*/ 4589999 w 6857999"/>
              <a:gd name="connsiteY19" fmla="*/ 2268000 h 6857999"/>
              <a:gd name="connsiteX20" fmla="*/ 0 w 6857999"/>
              <a:gd name="connsiteY20" fmla="*/ 0 h 6857999"/>
              <a:gd name="connsiteX21" fmla="*/ 2268000 w 6857999"/>
              <a:gd name="connsiteY21" fmla="*/ 0 h 6857999"/>
              <a:gd name="connsiteX22" fmla="*/ 2268000 w 6857999"/>
              <a:gd name="connsiteY22" fmla="*/ 2268000 h 6857999"/>
              <a:gd name="connsiteX23" fmla="*/ 0 w 6857999"/>
              <a:gd name="connsiteY23" fmla="*/ 226800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7999" h="6857999">
                <a:moveTo>
                  <a:pt x="4589999" y="4590000"/>
                </a:moveTo>
                <a:lnTo>
                  <a:pt x="6857999" y="4590000"/>
                </a:lnTo>
                <a:lnTo>
                  <a:pt x="6857999" y="6857999"/>
                </a:lnTo>
                <a:lnTo>
                  <a:pt x="4589999" y="6857999"/>
                </a:lnTo>
                <a:close/>
                <a:moveTo>
                  <a:pt x="2304000" y="4590000"/>
                </a:moveTo>
                <a:lnTo>
                  <a:pt x="4553999" y="4590000"/>
                </a:lnTo>
                <a:lnTo>
                  <a:pt x="4553999" y="6857999"/>
                </a:lnTo>
                <a:lnTo>
                  <a:pt x="2304000" y="6857999"/>
                </a:lnTo>
                <a:close/>
                <a:moveTo>
                  <a:pt x="2304000" y="2304000"/>
                </a:moveTo>
                <a:lnTo>
                  <a:pt x="4553999" y="2304000"/>
                </a:lnTo>
                <a:lnTo>
                  <a:pt x="4553999" y="4554000"/>
                </a:lnTo>
                <a:lnTo>
                  <a:pt x="2304000" y="4554000"/>
                </a:lnTo>
                <a:close/>
                <a:moveTo>
                  <a:pt x="0" y="2304000"/>
                </a:moveTo>
                <a:lnTo>
                  <a:pt x="2268000" y="2304000"/>
                </a:lnTo>
                <a:lnTo>
                  <a:pt x="2268000" y="4554000"/>
                </a:lnTo>
                <a:lnTo>
                  <a:pt x="0" y="4554000"/>
                </a:lnTo>
                <a:close/>
                <a:moveTo>
                  <a:pt x="4589999" y="0"/>
                </a:moveTo>
                <a:lnTo>
                  <a:pt x="6857999" y="0"/>
                </a:lnTo>
                <a:lnTo>
                  <a:pt x="6857999" y="2268000"/>
                </a:lnTo>
                <a:lnTo>
                  <a:pt x="4589999" y="2268000"/>
                </a:lnTo>
                <a:close/>
                <a:moveTo>
                  <a:pt x="0" y="0"/>
                </a:moveTo>
                <a:lnTo>
                  <a:pt x="2268000" y="0"/>
                </a:lnTo>
                <a:lnTo>
                  <a:pt x="2268000" y="2268000"/>
                </a:lnTo>
                <a:lnTo>
                  <a:pt x="0" y="2268000"/>
                </a:lnTo>
                <a:close/>
              </a:path>
            </a:pathLst>
          </a:custGeom>
          <a:solidFill>
            <a:schemeClr val="accent6"/>
          </a:solidFill>
        </p:spPr>
        <p:txBody>
          <a:bodyPr wrap="square">
            <a:noAutofit/>
          </a:bodyPr>
          <a:lstStyle>
            <a:lvl1pPr marL="0" indent="0">
              <a:buFont typeface="Arial" panose="020B0604020202020204" pitchFamily="34" charset="0"/>
              <a:buNone/>
              <a:defRPr/>
            </a:lvl1pPr>
          </a:lstStyle>
          <a:p>
            <a:r>
              <a:rPr lang="de-DE" dirty="0"/>
              <a:t> </a:t>
            </a:r>
          </a:p>
        </p:txBody>
      </p:sp>
      <p:sp>
        <p:nvSpPr>
          <p:cNvPr id="5" name="Titel 4">
            <a:extLst>
              <a:ext uri="{FF2B5EF4-FFF2-40B4-BE49-F238E27FC236}">
                <a16:creationId xmlns:a16="http://schemas.microsoft.com/office/drawing/2014/main" id="{CCD47075-0358-4B04-9C36-E858BC245477}"/>
              </a:ext>
            </a:extLst>
          </p:cNvPr>
          <p:cNvSpPr>
            <a:spLocks noGrp="1"/>
          </p:cNvSpPr>
          <p:nvPr>
            <p:ph type="title" hasCustomPrompt="1"/>
          </p:nvPr>
        </p:nvSpPr>
        <p:spPr>
          <a:xfrm>
            <a:off x="7228800" y="2995612"/>
            <a:ext cx="4410000" cy="1047600"/>
          </a:xfrm>
        </p:spPr>
        <p:txBody>
          <a:bodyPr anchor="ctr"/>
          <a:lstStyle>
            <a:lvl1pPr>
              <a:defRPr sz="2800" b="0">
                <a:latin typeface="+mn-lt"/>
              </a:defRPr>
            </a:lvl1pPr>
          </a:lstStyle>
          <a:p>
            <a:r>
              <a:rPr lang="de-DE" dirty="0" err="1"/>
              <a:t>Kapiteltrenner</a:t>
            </a:r>
            <a:r>
              <a:rPr lang="de-DE" dirty="0"/>
              <a:t>,</a:t>
            </a:r>
            <a:br>
              <a:rPr lang="de-DE" dirty="0"/>
            </a:br>
            <a:r>
              <a:rPr lang="de-DE" dirty="0"/>
              <a:t>zweizeilig </a:t>
            </a:r>
          </a:p>
        </p:txBody>
      </p:sp>
      <p:sp>
        <p:nvSpPr>
          <p:cNvPr id="8" name="Textplatzhalter 7">
            <a:extLst>
              <a:ext uri="{FF2B5EF4-FFF2-40B4-BE49-F238E27FC236}">
                <a16:creationId xmlns:a16="http://schemas.microsoft.com/office/drawing/2014/main" id="{3C9B8823-700E-48B3-92FE-AD429CECB5C7}"/>
              </a:ext>
            </a:extLst>
          </p:cNvPr>
          <p:cNvSpPr>
            <a:spLocks noGrp="1"/>
          </p:cNvSpPr>
          <p:nvPr>
            <p:ph type="body" sz="quarter" idx="13" hasCustomPrompt="1"/>
          </p:nvPr>
        </p:nvSpPr>
        <p:spPr>
          <a:xfrm>
            <a:off x="4964400" y="2900362"/>
            <a:ext cx="2005200" cy="1047813"/>
          </a:xfrm>
        </p:spPr>
        <p:txBody>
          <a:bodyPr anchor="ctr"/>
          <a:lstStyle>
            <a:lvl1pPr marL="0" indent="0" algn="r">
              <a:buNone/>
              <a:defRPr sz="8800" b="1">
                <a:latin typeface="+mj-lt"/>
              </a:defRPr>
            </a:lvl1pPr>
          </a:lstStyle>
          <a:p>
            <a:pPr lvl="0"/>
            <a:r>
              <a:rPr lang="de-DE" dirty="0"/>
              <a:t>##</a:t>
            </a:r>
          </a:p>
        </p:txBody>
      </p:sp>
    </p:spTree>
    <p:extLst>
      <p:ext uri="{BB962C8B-B14F-4D97-AF65-F5344CB8AC3E}">
        <p14:creationId xmlns:p14="http://schemas.microsoft.com/office/powerpoint/2010/main" val="339595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1/3)_Bild (2/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cxnSp>
        <p:nvCxnSpPr>
          <p:cNvPr id="8" name="Gerader Verbinder 7">
            <a:extLst>
              <a:ext uri="{FF2B5EF4-FFF2-40B4-BE49-F238E27FC236}">
                <a16:creationId xmlns:a16="http://schemas.microsoft.com/office/drawing/2014/main" id="{6C251973-09F0-4471-A030-9A113EAE4114}"/>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5AE0CD3D-9D24-4B29-96AA-494E232EEE2E}"/>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4" name="Gerader Verbinder 13">
            <a:extLst>
              <a:ext uri="{FF2B5EF4-FFF2-40B4-BE49-F238E27FC236}">
                <a16:creationId xmlns:a16="http://schemas.microsoft.com/office/drawing/2014/main" id="{80B5222D-A28F-43CC-9A96-F2D5B9B67AF9}"/>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3B89F4FF-D54A-48BB-B2D9-C2241DDF2CD0}"/>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sp>
        <p:nvSpPr>
          <p:cNvPr id="13" name="Textplatzhalter 3">
            <a:extLst>
              <a:ext uri="{FF2B5EF4-FFF2-40B4-BE49-F238E27FC236}">
                <a16:creationId xmlns:a16="http://schemas.microsoft.com/office/drawing/2014/main" id="{F49201FD-18D7-4458-89D6-DF3FF8EF931D}"/>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4367213" y="1414800"/>
            <a:ext cx="7824786" cy="4413600"/>
          </a:xfrm>
          <a:solidFill>
            <a:schemeClr val="accent6"/>
          </a:solidFill>
        </p:spPr>
        <p:txBody>
          <a:bodyPr/>
          <a:lstStyle>
            <a:lvl1pPr marL="0" indent="0">
              <a:buNone/>
              <a:defRPr/>
            </a:lvl1pPr>
          </a:lstStyle>
          <a:p>
            <a:r>
              <a:rPr lang="de-DE" dirty="0"/>
              <a:t> </a:t>
            </a:r>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55080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3">
            <a:extLst>
              <a:ext uri="{FF2B5EF4-FFF2-40B4-BE49-F238E27FC236}">
                <a16:creationId xmlns:a16="http://schemas.microsoft.com/office/drawing/2014/main" id="{F550D7D9-DC9F-4656-BA24-B341B92E49C3}"/>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B138F73-8805-45B0-B5F3-713B56BDED4B}"/>
              </a:ext>
            </a:extLst>
          </p:cNvPr>
          <p:cNvSpPr>
            <a:spLocks noGrp="1"/>
          </p:cNvSpPr>
          <p:nvPr>
            <p:ph type="title" hasCustomPrompt="1"/>
          </p:nvPr>
        </p:nvSpPr>
        <p:spPr/>
        <p:txBody>
          <a:bodyPr/>
          <a:lstStyle>
            <a:lvl1pPr>
              <a:defRPr sz="2400"/>
            </a:lvl1pPr>
          </a:lstStyle>
          <a:p>
            <a:r>
              <a:rPr lang="de-DE" dirty="0" err="1"/>
              <a:t>Inhalt_Bild</a:t>
            </a:r>
            <a:endParaRPr lang="de-DE" dirty="0"/>
          </a:p>
        </p:txBody>
      </p:sp>
    </p:spTree>
    <p:extLst>
      <p:ext uri="{BB962C8B-B14F-4D97-AF65-F5344CB8AC3E}">
        <p14:creationId xmlns:p14="http://schemas.microsoft.com/office/powerpoint/2010/main" val="3478393784"/>
      </p:ext>
    </p:extLst>
  </p:cSld>
  <p:clrMapOvr>
    <a:masterClrMapping/>
  </p:clrMapOvr>
  <p:extLst>
    <p:ext uri="{DCECCB84-F9BA-43D5-87BE-67443E8EF086}">
      <p15:sldGuideLst xmlns:p15="http://schemas.microsoft.com/office/powerpoint/2012/main">
        <p15:guide id="1" pos="2751" userDrawn="1">
          <p15:clr>
            <a:srgbClr val="FBAE40"/>
          </p15:clr>
        </p15:guide>
        <p15:guide id="2" pos="25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2/3)_Inhalt (1/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0" y="1414800"/>
            <a:ext cx="7824786" cy="4413600"/>
          </a:xfrm>
          <a:solidFill>
            <a:schemeClr val="accent6"/>
          </a:solidFill>
        </p:spPr>
        <p:txBody>
          <a:bodyPr/>
          <a:lstStyle>
            <a:lvl1pPr marL="0" indent="0">
              <a:buNone/>
              <a:defRPr/>
            </a:lvl1pPr>
          </a:lstStyle>
          <a:p>
            <a:r>
              <a:rPr lang="de-DE" dirty="0"/>
              <a:t> </a:t>
            </a:r>
          </a:p>
        </p:txBody>
      </p:sp>
      <p:cxnSp>
        <p:nvCxnSpPr>
          <p:cNvPr id="16" name="Gerader Verbinder 15">
            <a:extLst>
              <a:ext uri="{FF2B5EF4-FFF2-40B4-BE49-F238E27FC236}">
                <a16:creationId xmlns:a16="http://schemas.microsoft.com/office/drawing/2014/main" id="{C6DBF0F6-4B87-4F7D-ABC3-E33CEB8BF29D}"/>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C0CF42F-B9E1-4E2B-8229-780B5EE48798}"/>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8" name="Gerader Verbinder 17">
            <a:extLst>
              <a:ext uri="{FF2B5EF4-FFF2-40B4-BE49-F238E27FC236}">
                <a16:creationId xmlns:a16="http://schemas.microsoft.com/office/drawing/2014/main" id="{41F6503C-7B26-40CF-821B-4762A289A740}"/>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091BFE3F-69CD-4AF1-86DD-8DA35C7550A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0" name="Textplatzhalter 3">
            <a:extLst>
              <a:ext uri="{FF2B5EF4-FFF2-40B4-BE49-F238E27FC236}">
                <a16:creationId xmlns:a16="http://schemas.microsoft.com/office/drawing/2014/main" id="{39E3E6A2-A870-4316-A75A-A1D1864E9DBC}"/>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8C287C18-301F-4464-89BE-6E721589331D}"/>
              </a:ext>
            </a:extLst>
          </p:cNvPr>
          <p:cNvSpPr>
            <a:spLocks noGrp="1"/>
          </p:cNvSpPr>
          <p:nvPr>
            <p:ph type="title" hasCustomPrompt="1"/>
          </p:nvPr>
        </p:nvSpPr>
        <p:spPr/>
        <p:txBody>
          <a:bodyPr/>
          <a:lstStyle>
            <a:lvl1pPr>
              <a:defRPr sz="2400"/>
            </a:lvl1pPr>
          </a:lstStyle>
          <a:p>
            <a:r>
              <a:rPr lang="de-DE" dirty="0" err="1"/>
              <a:t>Bild_Inhalt</a:t>
            </a:r>
            <a:endParaRPr lang="de-DE" dirty="0"/>
          </a:p>
        </p:txBody>
      </p:sp>
      <p:sp>
        <p:nvSpPr>
          <p:cNvPr id="13" name="Textplatzhalter 3">
            <a:extLst>
              <a:ext uri="{FF2B5EF4-FFF2-40B4-BE49-F238E27FC236}">
                <a16:creationId xmlns:a16="http://schemas.microsoft.com/office/drawing/2014/main" id="{358AA9DF-00C3-40F9-9266-6D50BE9A7E1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695597895"/>
      </p:ext>
    </p:extLst>
  </p:cSld>
  <p:clrMapOvr>
    <a:masterClrMapping/>
  </p:clrMapOvr>
  <p:extLst>
    <p:ext uri="{DCECCB84-F9BA-43D5-87BE-67443E8EF086}">
      <p15:sldGuideLst xmlns:p15="http://schemas.microsoft.com/office/powerpoint/2012/main">
        <p15:guide id="1" pos="5155" userDrawn="1">
          <p15:clr>
            <a:srgbClr val="FBAE40"/>
          </p15:clr>
        </p15:guide>
        <p15:guide id="2" pos="49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2x)_Bild">
    <p:spTree>
      <p:nvGrpSpPr>
        <p:cNvPr id="1" name=""/>
        <p:cNvGrpSpPr/>
        <p:nvPr/>
      </p:nvGrpSpPr>
      <p:grpSpPr>
        <a:xfrm>
          <a:off x="0" y="0"/>
          <a:ext cx="0" cy="0"/>
          <a:chOff x="0" y="0"/>
          <a:chExt cx="0" cy="0"/>
        </a:xfrm>
      </p:grpSpPr>
      <p:sp>
        <p:nvSpPr>
          <p:cNvPr id="25" name="Bildplatzhalter 4">
            <a:extLst>
              <a:ext uri="{FF2B5EF4-FFF2-40B4-BE49-F238E27FC236}">
                <a16:creationId xmlns:a16="http://schemas.microsoft.com/office/drawing/2014/main" id="{474E0617-0181-4853-9638-9704439B38FD}"/>
              </a:ext>
            </a:extLst>
          </p:cNvPr>
          <p:cNvSpPr>
            <a:spLocks noGrp="1"/>
          </p:cNvSpPr>
          <p:nvPr>
            <p:ph type="pic" sz="quarter" idx="22" hasCustomPrompt="1"/>
          </p:nvPr>
        </p:nvSpPr>
        <p:spPr>
          <a:xfrm>
            <a:off x="8183563" y="0"/>
            <a:ext cx="4008436" cy="6857999"/>
          </a:xfrm>
          <a:solidFill>
            <a:schemeClr val="accent6"/>
          </a:solidFill>
        </p:spPr>
        <p:txBody>
          <a:bodyPr/>
          <a:lstStyle>
            <a:lvl1pPr marL="0" indent="0">
              <a:buNone/>
              <a:defRPr/>
            </a:lvl1pPr>
          </a:lstStyle>
          <a:p>
            <a:r>
              <a:rPr lang="de-DE" dirty="0"/>
              <a:t> </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lvl1pPr>
              <a:defRPr>
                <a:solidFill>
                  <a:schemeClr val="bg1"/>
                </a:solidFill>
              </a:defRPr>
            </a:lvl1p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Textplatzhalter 3">
            <a:extLst>
              <a:ext uri="{FF2B5EF4-FFF2-40B4-BE49-F238E27FC236}">
                <a16:creationId xmlns:a16="http://schemas.microsoft.com/office/drawing/2014/main" id="{56ABE43E-6BD7-4BEB-B19F-331CC8B8FB2A}"/>
              </a:ext>
            </a:extLst>
          </p:cNvPr>
          <p:cNvSpPr>
            <a:spLocks noGrp="1"/>
          </p:cNvSpPr>
          <p:nvPr>
            <p:ph type="body" sz="quarter" idx="17" hasCustomPrompt="1"/>
          </p:nvPr>
        </p:nvSpPr>
        <p:spPr>
          <a:xfrm>
            <a:off x="550861" y="864084"/>
            <a:ext cx="727197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B7B7D3C4-EB5A-4D3B-8002-1D9070EEF004}"/>
              </a:ext>
            </a:extLst>
          </p:cNvPr>
          <p:cNvSpPr>
            <a:spLocks noGrp="1"/>
          </p:cNvSpPr>
          <p:nvPr>
            <p:ph type="title" hasCustomPrompt="1"/>
          </p:nvPr>
        </p:nvSpPr>
        <p:spPr/>
        <p:txBody>
          <a:bodyPr/>
          <a:lstStyle>
            <a:lvl1pPr>
              <a:defRPr sz="2400"/>
            </a:lvl1pPr>
          </a:lstStyle>
          <a:p>
            <a:r>
              <a:rPr lang="de-DE" dirty="0"/>
              <a:t>Inhalt (2)_Bild</a:t>
            </a:r>
          </a:p>
        </p:txBody>
      </p:sp>
      <p:sp>
        <p:nvSpPr>
          <p:cNvPr id="22" name="Textplatzhalter 3">
            <a:extLst>
              <a:ext uri="{FF2B5EF4-FFF2-40B4-BE49-F238E27FC236}">
                <a16:creationId xmlns:a16="http://schemas.microsoft.com/office/drawing/2014/main" id="{19F5B2BC-337A-4419-8216-81F9AC0F8844}"/>
              </a:ext>
            </a:extLst>
          </p:cNvPr>
          <p:cNvSpPr>
            <a:spLocks noGrp="1"/>
          </p:cNvSpPr>
          <p:nvPr>
            <p:ph type="body" sz="quarter" idx="21" hasCustomPrompt="1"/>
          </p:nvPr>
        </p:nvSpPr>
        <p:spPr>
          <a:xfrm>
            <a:off x="550800" y="5828031"/>
            <a:ext cx="7272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2535501271"/>
      </p:ext>
    </p:extLst>
  </p:cSld>
  <p:clrMapOvr>
    <a:masterClrMapping/>
  </p:clrMapOvr>
  <p:extLst>
    <p:ext uri="{DCECCB84-F9BA-43D5-87BE-67443E8EF086}">
      <p15:sldGuideLst xmlns:p15="http://schemas.microsoft.com/office/powerpoint/2012/main">
        <p15:guide id="2" pos="2525">
          <p15:clr>
            <a:srgbClr val="FBAE40"/>
          </p15:clr>
        </p15:guide>
        <p15:guide id="3" pos="2751">
          <p15:clr>
            <a:srgbClr val="FBAE40"/>
          </p15:clr>
        </p15:guide>
        <p15:guide id="4" pos="4929">
          <p15:clr>
            <a:srgbClr val="FBAE40"/>
          </p15:clr>
        </p15:guide>
        <p15:guide id="5" pos="5155">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tags" Target="../tags/tag2.xml"/><Relationship Id="rId16" Type="http://schemas.openxmlformats.org/officeDocument/2006/relationships/oleObject" Target="../embeddings/oleObject1.bin"/><Relationship Id="rId1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DFF45E0-A3BD-43AA-8C26-2ACC16E53449}"/>
              </a:ext>
            </a:extLst>
          </p:cNvPr>
          <p:cNvGraphicFramePr>
            <a:graphicFrameLocks noChangeAspect="1"/>
          </p:cNvGraphicFramePr>
          <p:nvPr userDrawn="1">
            <p:custDataLst>
              <p:tags r:id="rId15"/>
            </p:custDataLst>
            <p:extLst>
              <p:ext uri="{D42A27DB-BD31-4B8C-83A1-F6EECF244321}">
                <p14:modId xmlns:p14="http://schemas.microsoft.com/office/powerpoint/2010/main" val="311798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01" imgH="501" progId="TCLayout.ActiveDocument.1">
                  <p:embed/>
                </p:oleObj>
              </mc:Choice>
              <mc:Fallback>
                <p:oleObj name="think-cell Folie" r:id="rId16" imgW="501" imgH="501" progId="TCLayout.ActiveDocument.1">
                  <p:embed/>
                  <p:pic>
                    <p:nvPicPr>
                      <p:cNvPr id="5" name="Objekt 4" hidden="1">
                        <a:extLst>
                          <a:ext uri="{FF2B5EF4-FFF2-40B4-BE49-F238E27FC236}">
                            <a16:creationId xmlns:a16="http://schemas.microsoft.com/office/drawing/2014/main" id="{CDFF45E0-A3BD-43AA-8C26-2ACC16E5344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14" name="Gerader Verbinder 13">
            <a:extLst>
              <a:ext uri="{FF2B5EF4-FFF2-40B4-BE49-F238E27FC236}">
                <a16:creationId xmlns:a16="http://schemas.microsoft.com/office/drawing/2014/main" id="{F627DCD4-0006-49BC-B1F9-A6F56658D11A}"/>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51C6B29D-B6E6-49D6-9AA2-580E9CC1D2D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18" name="Gerader Verbinder 17">
            <a:extLst>
              <a:ext uri="{FF2B5EF4-FFF2-40B4-BE49-F238E27FC236}">
                <a16:creationId xmlns:a16="http://schemas.microsoft.com/office/drawing/2014/main" id="{B76AF0F8-EDED-4869-8EB7-8907E487D82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69BF9A34-A384-45A6-A778-95E00EB94E42}"/>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1" name="Gerader Verbinder 20">
            <a:extLst>
              <a:ext uri="{FF2B5EF4-FFF2-40B4-BE49-F238E27FC236}">
                <a16:creationId xmlns:a16="http://schemas.microsoft.com/office/drawing/2014/main" id="{6F2F176E-86B2-47CB-B4E0-DDA65D41F5D1}"/>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EA41DAA9-9025-41CA-8C8C-50A94AB72B0A}"/>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23" name="Gerader Verbinder 22">
            <a:extLst>
              <a:ext uri="{FF2B5EF4-FFF2-40B4-BE49-F238E27FC236}">
                <a16:creationId xmlns:a16="http://schemas.microsoft.com/office/drawing/2014/main" id="{2B292CA8-F2D6-49B4-B5E9-2C52B610338D}"/>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3FA9F94C-AA31-494A-9E53-744CB810026E}"/>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sp>
        <p:nvSpPr>
          <p:cNvPr id="6" name="Foliennummernplatzhalter 5">
            <a:extLst>
              <a:ext uri="{FF2B5EF4-FFF2-40B4-BE49-F238E27FC236}">
                <a16:creationId xmlns:a16="http://schemas.microsoft.com/office/drawing/2014/main" id="{6A13B4BA-5B5D-4D92-9EBD-F6A66C547D4B}"/>
              </a:ext>
            </a:extLst>
          </p:cNvPr>
          <p:cNvSpPr>
            <a:spLocks noGrp="1"/>
          </p:cNvSpPr>
          <p:nvPr>
            <p:ph type="sldNum" sz="quarter" idx="4"/>
          </p:nvPr>
        </p:nvSpPr>
        <p:spPr>
          <a:xfrm>
            <a:off x="11203782" y="6348414"/>
            <a:ext cx="435768" cy="333760"/>
          </a:xfrm>
          <a:prstGeom prst="rect">
            <a:avLst/>
          </a:prstGeom>
        </p:spPr>
        <p:txBody>
          <a:bodyPr vert="horz" lIns="0" tIns="0" rIns="0" bIns="0" rtlCol="0" anchor="ctr"/>
          <a:lstStyle>
            <a:lvl1pPr algn="r">
              <a:defRPr sz="1050" b="1">
                <a:solidFill>
                  <a:schemeClr val="tx1"/>
                </a:solidFill>
                <a:latin typeface="+mj-lt"/>
              </a:defRPr>
            </a:lvl1pPr>
          </a:lstStyle>
          <a:p>
            <a:fld id="{A4F0F259-A46A-4ED8-ADC1-905ED7FEFB94}" type="slidenum">
              <a:rPr lang="de-DE" smtClean="0"/>
              <a:pPr/>
              <a:t>‹#›</a:t>
            </a:fld>
            <a:endParaRPr lang="de-DE" dirty="0"/>
          </a:p>
        </p:txBody>
      </p:sp>
      <p:cxnSp>
        <p:nvCxnSpPr>
          <p:cNvPr id="25" name="Gerader Verbinder 24">
            <a:extLst>
              <a:ext uri="{FF2B5EF4-FFF2-40B4-BE49-F238E27FC236}">
                <a16:creationId xmlns:a16="http://schemas.microsoft.com/office/drawing/2014/main" id="{3CE27FB7-E053-4598-9E6C-BCE006EB5884}"/>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5F51AA1E-F5BA-4796-8927-B6880778E557}"/>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27" name="Gerader Verbinder 26">
            <a:extLst>
              <a:ext uri="{FF2B5EF4-FFF2-40B4-BE49-F238E27FC236}">
                <a16:creationId xmlns:a16="http://schemas.microsoft.com/office/drawing/2014/main" id="{9741530E-D345-47FD-A6B2-0EA9FEEB3ACD}"/>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7B8D5A9A-0C4A-47A8-83B8-2EFA4C99A4E0}"/>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29" name="Gerader Verbinder 28">
            <a:extLst>
              <a:ext uri="{FF2B5EF4-FFF2-40B4-BE49-F238E27FC236}">
                <a16:creationId xmlns:a16="http://schemas.microsoft.com/office/drawing/2014/main" id="{5785548C-CAA3-4E4F-AE4B-228F14C62EE0}"/>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625E4154-A280-4107-A9BB-EDC7710291FF}"/>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 name="Textplatzhalter 2">
            <a:extLst>
              <a:ext uri="{FF2B5EF4-FFF2-40B4-BE49-F238E27FC236}">
                <a16:creationId xmlns:a16="http://schemas.microsoft.com/office/drawing/2014/main" id="{2E9A3338-48BC-479F-AEB8-992C902B85EE}"/>
              </a:ext>
            </a:extLst>
          </p:cNvPr>
          <p:cNvSpPr>
            <a:spLocks noGrp="1"/>
          </p:cNvSpPr>
          <p:nvPr>
            <p:ph type="body" idx="1"/>
          </p:nvPr>
        </p:nvSpPr>
        <p:spPr>
          <a:xfrm>
            <a:off x="550864" y="1412876"/>
            <a:ext cx="11088686" cy="4680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 name="Titelplatzhalter 1">
            <a:extLst>
              <a:ext uri="{FF2B5EF4-FFF2-40B4-BE49-F238E27FC236}">
                <a16:creationId xmlns:a16="http://schemas.microsoft.com/office/drawing/2014/main" id="{06838A31-5826-430D-8C02-F9E9B58F7A8C}"/>
              </a:ext>
            </a:extLst>
          </p:cNvPr>
          <p:cNvSpPr>
            <a:spLocks noGrp="1"/>
          </p:cNvSpPr>
          <p:nvPr>
            <p:ph type="title"/>
          </p:nvPr>
        </p:nvSpPr>
        <p:spPr>
          <a:xfrm>
            <a:off x="550862" y="477429"/>
            <a:ext cx="11088687" cy="322667"/>
          </a:xfrm>
          <a:prstGeom prst="rect">
            <a:avLst/>
          </a:prstGeom>
        </p:spPr>
        <p:txBody>
          <a:bodyPr vert="horz" lIns="0" tIns="0" rIns="0" bIns="0" rtlCol="0" anchor="t">
            <a:noAutofit/>
          </a:bodyPr>
          <a:lstStyle/>
          <a:p>
            <a:r>
              <a:rPr lang="de-DE" dirty="0"/>
              <a:t>Mastertitelformat bearbeiten</a:t>
            </a:r>
          </a:p>
        </p:txBody>
      </p:sp>
    </p:spTree>
    <p:extLst>
      <p:ext uri="{BB962C8B-B14F-4D97-AF65-F5344CB8AC3E}">
        <p14:creationId xmlns:p14="http://schemas.microsoft.com/office/powerpoint/2010/main" val="4171192528"/>
      </p:ext>
    </p:extLst>
  </p:cSld>
  <p:clrMap bg1="lt1" tx1="dk1" bg2="lt2" tx2="dk2" accent1="accent1" accent2="accent2" accent3="accent3" accent4="accent4" accent5="accent5" accent6="accent6" hlink="hlink" folHlink="folHlink"/>
  <p:sldLayoutIdLst>
    <p:sldLayoutId id="2147483691" r:id="rId1"/>
    <p:sldLayoutId id="2147483690" r:id="rId2"/>
    <p:sldLayoutId id="2147483660" r:id="rId3"/>
    <p:sldLayoutId id="2147483680" r:id="rId4"/>
    <p:sldLayoutId id="2147483678" r:id="rId5"/>
    <p:sldLayoutId id="2147483681" r:id="rId6"/>
    <p:sldLayoutId id="2147483685" r:id="rId7"/>
    <p:sldLayoutId id="2147483686" r:id="rId8"/>
    <p:sldLayoutId id="2147483687" r:id="rId9"/>
    <p:sldLayoutId id="2147483689" r:id="rId10"/>
    <p:sldLayoutId id="2147483700" r:id="rId11"/>
    <p:sldLayoutId id="2147483698" r:id="rId12"/>
    <p:sldLayoutId id="2147483692" r:id="rId13"/>
  </p:sldLayoutIdLst>
  <p:hf hdr="0" dt="0"/>
  <p:txStyles>
    <p:titleStyle>
      <a:lvl1pPr algn="l" defTabSz="914400" rtl="0" eaLnBrk="1" latinLnBrk="0" hangingPunct="1">
        <a:lnSpc>
          <a:spcPct val="100000"/>
        </a:lnSpc>
        <a:spcBef>
          <a:spcPct val="0"/>
        </a:spcBef>
        <a:buNone/>
        <a:defRPr sz="2200" b="1" kern="1200" cap="all" baseline="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b="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5pPr>
      <a:lvl6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6pPr>
      <a:lvl7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7pPr>
      <a:lvl8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8pPr>
      <a:lvl9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47" userDrawn="1">
          <p15:clr>
            <a:srgbClr val="F26B43"/>
          </p15:clr>
        </p15:guide>
        <p15:guide id="4" orient="horz" pos="300" userDrawn="1">
          <p15:clr>
            <a:srgbClr val="F26B43"/>
          </p15:clr>
        </p15:guide>
        <p15:guide id="5" orient="horz" pos="504" userDrawn="1">
          <p15:clr>
            <a:srgbClr val="F26B43"/>
          </p15:clr>
        </p15:guide>
        <p15:guide id="6" pos="7333" userDrawn="1">
          <p15:clr>
            <a:srgbClr val="F26B43"/>
          </p15:clr>
        </p15:guide>
        <p15:guide id="7" orient="horz" pos="890" userDrawn="1">
          <p15:clr>
            <a:srgbClr val="F26B43"/>
          </p15:clr>
        </p15:guide>
        <p15:guide id="8" orient="horz" pos="3997" userDrawn="1">
          <p15:clr>
            <a:srgbClr val="F26B43"/>
          </p15:clr>
        </p15:guide>
        <p15:guide id="9" orient="horz" pos="38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1.xml"/><Relationship Id="rId3" Type="http://schemas.openxmlformats.org/officeDocument/2006/relationships/notesSlide" Target="../notesSlides/notesSlide1.xml"/><Relationship Id="rId4" Type="http://schemas.openxmlformats.org/officeDocument/2006/relationships/oleObject" Target="../embeddings/oleObject2.bin"/><Relationship Id="rId5"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BFE861F-BC5A-4E6C-B1CC-485130A4C1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1" progId="TCLayout.ActiveDocument.1">
                  <p:embed/>
                </p:oleObj>
              </mc:Choice>
              <mc:Fallback>
                <p:oleObj name="think-cell Folie" r:id="rId4" imgW="501" imgH="501" progId="TCLayout.ActiveDocument.1">
                  <p:embed/>
                  <p:pic>
                    <p:nvPicPr>
                      <p:cNvPr id="3" name="Objekt 2" hidden="1">
                        <a:extLst>
                          <a:ext uri="{FF2B5EF4-FFF2-40B4-BE49-F238E27FC236}">
                            <a16:creationId xmlns:a16="http://schemas.microsoft.com/office/drawing/2014/main" id="{8BFE861F-BC5A-4E6C-B1CC-485130A4C1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AF431F5F-13FF-58F1-6359-A9E1D553C729}"/>
              </a:ext>
            </a:extLst>
          </p:cNvPr>
          <p:cNvSpPr>
            <a:spLocks noGrp="1"/>
          </p:cNvSpPr>
          <p:nvPr>
            <p:ph type="subTitle" idx="1"/>
          </p:nvPr>
        </p:nvSpPr>
        <p:spPr/>
        <p:txBody>
          <a:bodyPr/>
          <a:lstStyle/>
          <a:p>
            <a:endParaRPr lang="en-DE"/>
          </a:p>
        </p:txBody>
      </p:sp>
      <p:sp>
        <p:nvSpPr>
          <p:cNvPr id="2" name="Textfeld 1">
            <a:extLst>
              <a:ext uri="{FF2B5EF4-FFF2-40B4-BE49-F238E27FC236}">
                <a16:creationId xmlns:a16="http://schemas.microsoft.com/office/drawing/2014/main" id="{47EB54C4-5BA1-244E-8126-AE0B9AFA1A15}"/>
              </a:ext>
            </a:extLst>
          </p:cNvPr>
          <p:cNvSpPr txBox="1"/>
          <p:nvPr/>
        </p:nvSpPr>
        <p:spPr>
          <a:xfrm>
            <a:off x="1842247" y="3711388"/>
            <a:ext cx="0" cy="0"/>
          </a:xfrm>
          <a:prstGeom prst="rect">
            <a:avLst/>
          </a:prstGeom>
          <a:noFill/>
        </p:spPr>
        <p:txBody>
          <a:bodyPr wrap="none" lIns="0" tIns="0" rIns="0" bIns="0" rtlCol="0">
            <a:noAutofit/>
          </a:bodyPr>
          <a:lstStyle/>
          <a:p>
            <a:pPr algn="l"/>
            <a:endParaRPr lang="de-DE" sz="1200" dirty="0" err="1"/>
          </a:p>
        </p:txBody>
      </p:sp>
      <p:sp>
        <p:nvSpPr>
          <p:cNvPr id="6" name="Picture Placeholder 5">
            <a:extLst>
              <a:ext uri="{FF2B5EF4-FFF2-40B4-BE49-F238E27FC236}">
                <a16:creationId xmlns:a16="http://schemas.microsoft.com/office/drawing/2014/main" id="{D62E1D48-CD32-89A1-7AE3-0588A69F4786}"/>
              </a:ext>
            </a:extLst>
          </p:cNvPr>
          <p:cNvSpPr>
            <a:spLocks noGrp="1"/>
          </p:cNvSpPr>
          <p:nvPr>
            <p:ph type="pic" sz="quarter" idx="22"/>
          </p:nvPr>
        </p:nvSpPr>
        <p:spPr/>
      </p:sp>
    </p:spTree>
    <p:extLst>
      <p:ext uri="{BB962C8B-B14F-4D97-AF65-F5344CB8AC3E}">
        <p14:creationId xmlns:p14="http://schemas.microsoft.com/office/powerpoint/2010/main" val="3808728708"/>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Picture Placeholder 1"/>
          <p:cNvSpPr>
            <a:spLocks noGrp="1"/>
          </p:cNvSpPr>
          <p:nvPr>
            <p:ph type="pic" idx="12" sz="quarter"/>
          </p:nvPr>
        </p:nvSpPr>
        <p:spPr/>
      </p:sp>
      <p:sp>
        <p:nvSpPr>
          <p:cNvPr id="3" name="Title 2"/>
          <p:cNvSpPr>
            <a:spLocks noGrp="1"/>
          </p:cNvSpPr>
          <p:nvPr>
            <p:ph type="title"/>
          </p:nvPr>
        </p:nvSpPr>
        <p:spPr/>
        <p:txBody>
          <a:bodyPr/>
          <a:lstStyle/>
          <a:p>
            <a:r>
              <a:t>A Presentation generated from a Jupyter Notebook</a:t>
            </a:r>
          </a:p>
        </p:txBody>
      </p:sp>
      <p:sp>
        <p:nvSpPr>
          <p:cNvPr id="4" name="Subtitle 3"/>
          <p:cNvSpPr>
            <a:spLocks noGrp="1"/>
          </p:cNvSpPr>
          <p:nvPr>
            <p:ph type="subTitle" idx="1"/>
          </p:nvPr>
        </p:nvSpPr>
        <p:spPr/>
        <p:txBody>
          <a:bodyPr/>
          <a:lstStyle/>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o begin with, we import the essential libraries for our project: `pptx` and `nbformat`. The `pptx` library enables us to create and manipulate PowerPoint presentations programmatically, offering a wide range of features to customize slides, add content, and format elements. On the other hand, `nbformat` is used to handle Jupyter Notebook files, allowing us to read, write, and manipulate notebook content efficiently. These libraries form the backbone of our project, providing the necessary tools to automate and streamline our presentation creation process.</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1: Introduction</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Our function is designed to seamlessly convert a Jupyter Notebook into a PowerPoint presentation using a specified template. This process involves several key steps:</a:t>
            </a:r>
          </a:p>
          <a:p/>
          <a:p>
            <a:r>
              <a:t>**Subsection 2.1: Define the paths**</a:t>
            </a:r>
          </a:p>
          <a:p>
            <a:r>
              <a:t>The first step is to define the file paths for the input Jupyter Notebook and the PowerPoint template. By specifying these paths, we ensure that the function knows exactly where to locate the necessary files for conversion.</a:t>
            </a:r>
          </a:p>
          <a:p/>
          <a:p>
            <a:r>
              <a:t>**Subsection 2.2: Define the output path**</a:t>
            </a:r>
          </a:p>
          <a:p>
            <a:r>
              <a:t>Next, we define the output path where the resulting PowerPoint presentation will be saved. This step is crucial as it determines the destination for the final presentation file, ensuring it is stored in an accessible and organized manner.</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2: Function to create a presentation</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o generate the presentation, we utilize the predefined function. This function streamlines the process by automating the creation of slides, ensuring consistency and efficiency throughout the presentation. By leveraging this function, we can focus on refining the content and design, confident that the structural elements are handled seamlessly.</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3: Create the presentation</a:t>
            </a:r>
          </a:p>
        </p:txBody>
      </p:sp>
      <p:sp>
        <p:nvSpPr>
          <p:cNvPr id="7" name="Text Placeholder 6"/>
          <p:cNvSpPr>
            <a:spLocks noGrp="1"/>
          </p:cNvSpPr>
          <p:nvPr>
            <p:ph type="body" idx="21" sz="quarter"/>
          </p:nvPr>
        </p:nvSpPr>
        <p:spPr/>
        <p:txBody>
          <a:bodyPr/>
          <a:lstStyle/>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BENE_Master">
  <a:themeElements>
    <a:clrScheme name="Conbene">
      <a:dk1>
        <a:srgbClr val="000000"/>
      </a:dk1>
      <a:lt1>
        <a:srgbClr val="FFFFFF"/>
      </a:lt1>
      <a:dk2>
        <a:srgbClr val="1C3658"/>
      </a:dk2>
      <a:lt2>
        <a:srgbClr val="FFFFFF"/>
      </a:lt2>
      <a:accent1>
        <a:srgbClr val="1C3658"/>
      </a:accent1>
      <a:accent2>
        <a:srgbClr val="4D6D8E"/>
      </a:accent2>
      <a:accent3>
        <a:srgbClr val="85C7CE"/>
      </a:accent3>
      <a:accent4>
        <a:srgbClr val="99ABBE"/>
      </a:accent4>
      <a:accent5>
        <a:srgbClr val="7F7F7F"/>
      </a:accent5>
      <a:accent6>
        <a:srgbClr val="BFBFBF"/>
      </a:accent6>
      <a:hlink>
        <a:srgbClr val="85C7CE"/>
      </a:hlink>
      <a:folHlink>
        <a:srgbClr val="1C3658"/>
      </a:folHlink>
    </a:clrScheme>
    <a:fontScheme name="Benutzerdefiniert 3">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20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custClrLst>
    <a:custClr name="Orange">
      <a:srgbClr val="ED8348"/>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82A6DACC844941A0C90594FC942817" ma:contentTypeVersion="16" ma:contentTypeDescription="Ein neues Dokument erstellen." ma:contentTypeScope="" ma:versionID="30b1eba04f62553f69d48e2187519133">
  <xsd:schema xmlns:xsd="http://www.w3.org/2001/XMLSchema" xmlns:xs="http://www.w3.org/2001/XMLSchema" xmlns:p="http://schemas.microsoft.com/office/2006/metadata/properties" xmlns:ns2="f909e4db-e651-40ca-8927-ef3b962a225d" xmlns:ns3="194d22ca-cb73-440e-836e-eb3950c29c17" targetNamespace="http://schemas.microsoft.com/office/2006/metadata/properties" ma:root="true" ma:fieldsID="35cc3d9bd264b5c351e6e7a8d9dceb7e" ns2:_="" ns3:_="">
    <xsd:import namespace="f909e4db-e651-40ca-8927-ef3b962a225d"/>
    <xsd:import namespace="194d22ca-cb73-440e-836e-eb3950c29c1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9e4db-e651-40ca-8927-ef3b962a22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80fe995-0e9d-490b-a416-f1a084a7a31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94d22ca-cb73-440e-836e-eb3950c29c17"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84b70731-0640-4137-ae8a-64361180178d}" ma:internalName="TaxCatchAll" ma:showField="CatchAllData" ma:web="194d22ca-cb73-440e-836e-eb3950c29c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909e4db-e651-40ca-8927-ef3b962a225d">
      <Terms xmlns="http://schemas.microsoft.com/office/infopath/2007/PartnerControls"/>
    </lcf76f155ced4ddcb4097134ff3c332f>
    <TaxCatchAll xmlns="194d22ca-cb73-440e-836e-eb3950c29c17" xsi:nil="true"/>
  </documentManagement>
</p:properties>
</file>

<file path=customXml/itemProps1.xml><?xml version="1.0" encoding="utf-8"?>
<ds:datastoreItem xmlns:ds="http://schemas.openxmlformats.org/officeDocument/2006/customXml" ds:itemID="{9F781355-8615-40E0-9FC6-E803848E59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09e4db-e651-40ca-8927-ef3b962a225d"/>
    <ds:schemaRef ds:uri="194d22ca-cb73-440e-836e-eb3950c29c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367E84-9C21-4E8E-9110-91E0CE722121}">
  <ds:schemaRefs>
    <ds:schemaRef ds:uri="http://schemas.microsoft.com/sharepoint/v3/contenttype/forms"/>
  </ds:schemaRefs>
</ds:datastoreItem>
</file>

<file path=customXml/itemProps3.xml><?xml version="1.0" encoding="utf-8"?>
<ds:datastoreItem xmlns:ds="http://schemas.openxmlformats.org/officeDocument/2006/customXml" ds:itemID="{A0679FA0-EFA8-4510-9C61-F5D341E184F7}">
  <ds:schemaRefs>
    <ds:schemaRef ds:uri="http://schemas.microsoft.com/office/2006/documentManagement/types"/>
    <ds:schemaRef ds:uri="http://schemas.microsoft.com/office/infopath/2007/PartnerControls"/>
    <ds:schemaRef ds:uri="f909e4db-e651-40ca-8927-ef3b962a225d"/>
    <ds:schemaRef ds:uri="http://www.w3.org/XML/1998/namespace"/>
    <ds:schemaRef ds:uri="http://purl.org/dc/dcmitype/"/>
    <ds:schemaRef ds:uri="http://purl.org/dc/terms/"/>
    <ds:schemaRef ds:uri="http://schemas.microsoft.com/office/2006/metadata/properties"/>
    <ds:schemaRef ds:uri="http://purl.org/dc/elements/1.1/"/>
    <ds:schemaRef ds:uri="http://schemas.openxmlformats.org/package/2006/metadata/core-properties"/>
    <ds:schemaRef ds:uri="194d22ca-cb73-440e-836e-eb3950c29c17"/>
  </ds:schemaRefs>
</ds:datastoreItem>
</file>

<file path=docProps/app.xml><?xml version="1.0" encoding="utf-8"?>
<Properties xmlns="http://schemas.openxmlformats.org/officeDocument/2006/extended-properties" xmlns:vt="http://schemas.openxmlformats.org/officeDocument/2006/docPropsVTypes">
  <TotalTime>684</TotalTime>
  <Words>1</Words>
  <Application>Microsoft Macintosh PowerPoint</Application>
  <PresentationFormat>Widescreen</PresentationFormat>
  <Paragraphs>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Raleway</vt:lpstr>
      <vt:lpstr>Symbol</vt:lpstr>
      <vt:lpstr>CONBENE_Master</vt:lpstr>
      <vt:lpstr>think-cell Foli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astasia Trubizki</dc:creator>
  <cp:lastModifiedBy>Nils Jennissen</cp:lastModifiedBy>
  <cp:revision>284</cp:revision>
  <dcterms:created xsi:type="dcterms:W3CDTF">2019-06-20T13:37:27Z</dcterms:created>
  <dcterms:modified xsi:type="dcterms:W3CDTF">2023-06-11T18: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82A6DACC844941A0C90594FC942817</vt:lpwstr>
  </property>
  <property fmtid="{D5CDD505-2E9C-101B-9397-08002B2CF9AE}" pid="3" name="MediaServiceImageTags">
    <vt:lpwstr/>
  </property>
</Properties>
</file>